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media/image2.bin" ContentType="image/png"/>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26"/>
  </p:sldMasterIdLst>
  <p:notesMasterIdLst>
    <p:notesMasterId r:id="rId37"/>
  </p:notesMasterIdLst>
  <p:sldIdLst>
    <p:sldId id="257" r:id="rId27"/>
    <p:sldId id="2142533552" r:id="rId28"/>
    <p:sldId id="2142533565" r:id="rId29"/>
    <p:sldId id="2142533554" r:id="rId30"/>
    <p:sldId id="2142533563" r:id="rId31"/>
    <p:sldId id="2142533559" r:id="rId32"/>
    <p:sldId id="2142533566" r:id="rId33"/>
    <p:sldId id="2142533560" r:id="rId34"/>
    <p:sldId id="2142533567" r:id="rId35"/>
    <p:sldId id="270"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06A0CD-19A8-4DE4-933D-7D9D720434E9}" v="39" dt="2023-10-21T19:11:24.3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27" autoAdjust="0"/>
    <p:restoredTop sz="96327"/>
  </p:normalViewPr>
  <p:slideViewPr>
    <p:cSldViewPr snapToGrid="0" snapToObjects="1">
      <p:cViewPr varScale="1">
        <p:scale>
          <a:sx n="70" d="100"/>
          <a:sy n="70" d="100"/>
        </p:scale>
        <p:origin x="52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Master" Target="slideMasters/slideMaster1.xml"/><Relationship Id="rId39" Type="http://schemas.openxmlformats.org/officeDocument/2006/relationships/viewProps" Target="viewProps.xml"/><Relationship Id="rId21" Type="http://schemas.openxmlformats.org/officeDocument/2006/relationships/customXml" Target="../customXml/item21.xml"/><Relationship Id="rId34" Type="http://schemas.openxmlformats.org/officeDocument/2006/relationships/slide" Target="slides/slide8.xml"/><Relationship Id="rId42" Type="http://schemas.microsoft.com/office/2016/11/relationships/changesInfo" Target="changesInfos/changesInfo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customXml" Target="../customXml/item20.xml"/><Relationship Id="rId29" Type="http://schemas.openxmlformats.org/officeDocument/2006/relationships/slide" Target="slides/slide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6.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2.xml"/><Relationship Id="rId36" Type="http://schemas.openxmlformats.org/officeDocument/2006/relationships/slide" Target="slides/slide10.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microsoft.com/office/2015/10/relationships/revisionInfo" Target="revisionInfo.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7.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umpis, Konstantinos" userId="6c72b8e3-3757-4137-ae4f-83d233c85c4b" providerId="ADAL" clId="{5706A0CD-19A8-4DE4-933D-7D9D720434E9}"/>
    <pc:docChg chg="undo custSel addSld delSld modSld sldOrd">
      <pc:chgData name="Roumpis, Konstantinos" userId="6c72b8e3-3757-4137-ae4f-83d233c85c4b" providerId="ADAL" clId="{5706A0CD-19A8-4DE4-933D-7D9D720434E9}" dt="2023-10-21T19:13:12.747" v="1311" actId="20577"/>
      <pc:docMkLst>
        <pc:docMk/>
      </pc:docMkLst>
      <pc:sldChg chg="del">
        <pc:chgData name="Roumpis, Konstantinos" userId="6c72b8e3-3757-4137-ae4f-83d233c85c4b" providerId="ADAL" clId="{5706A0CD-19A8-4DE4-933D-7D9D720434E9}" dt="2023-10-21T18:45:59.817" v="0" actId="47"/>
        <pc:sldMkLst>
          <pc:docMk/>
          <pc:sldMk cId="3492132442" sldId="256"/>
        </pc:sldMkLst>
      </pc:sldChg>
      <pc:sldChg chg="addSp delSp modSp mod">
        <pc:chgData name="Roumpis, Konstantinos" userId="6c72b8e3-3757-4137-ae4f-83d233c85c4b" providerId="ADAL" clId="{5706A0CD-19A8-4DE4-933D-7D9D720434E9}" dt="2023-10-21T18:47:47.196" v="161" actId="113"/>
        <pc:sldMkLst>
          <pc:docMk/>
          <pc:sldMk cId="481143055" sldId="2142533552"/>
        </pc:sldMkLst>
        <pc:spChg chg="add mod">
          <ac:chgData name="Roumpis, Konstantinos" userId="6c72b8e3-3757-4137-ae4f-83d233c85c4b" providerId="ADAL" clId="{5706A0CD-19A8-4DE4-933D-7D9D720434E9}" dt="2023-10-21T18:46:17.789" v="2"/>
          <ac:spMkLst>
            <pc:docMk/>
            <pc:sldMk cId="481143055" sldId="2142533552"/>
            <ac:spMk id="2" creationId="{842B25E1-6131-FC3F-4C15-A06019024D08}"/>
          </ac:spMkLst>
        </pc:spChg>
        <pc:spChg chg="add mod">
          <ac:chgData name="Roumpis, Konstantinos" userId="6c72b8e3-3757-4137-ae4f-83d233c85c4b" providerId="ADAL" clId="{5706A0CD-19A8-4DE4-933D-7D9D720434E9}" dt="2023-10-21T18:46:40.209" v="19" actId="20577"/>
          <ac:spMkLst>
            <pc:docMk/>
            <pc:sldMk cId="481143055" sldId="2142533552"/>
            <ac:spMk id="3" creationId="{47268815-56D0-7163-1D08-C62C865CBAFF}"/>
          </ac:spMkLst>
        </pc:spChg>
        <pc:spChg chg="mod">
          <ac:chgData name="Roumpis, Konstantinos" userId="6c72b8e3-3757-4137-ae4f-83d233c85c4b" providerId="ADAL" clId="{5706A0CD-19A8-4DE4-933D-7D9D720434E9}" dt="2023-10-21T18:46:17.789" v="2"/>
          <ac:spMkLst>
            <pc:docMk/>
            <pc:sldMk cId="481143055" sldId="2142533552"/>
            <ac:spMk id="8" creationId="{10B8F1C0-AFB6-F55E-804A-5426964FF0B3}"/>
          </ac:spMkLst>
        </pc:spChg>
        <pc:spChg chg="mod">
          <ac:chgData name="Roumpis, Konstantinos" userId="6c72b8e3-3757-4137-ae4f-83d233c85c4b" providerId="ADAL" clId="{5706A0CD-19A8-4DE4-933D-7D9D720434E9}" dt="2023-10-21T18:46:17.789" v="2"/>
          <ac:spMkLst>
            <pc:docMk/>
            <pc:sldMk cId="481143055" sldId="2142533552"/>
            <ac:spMk id="9" creationId="{828C8F4A-698B-A6B3-39AF-A6D304499335}"/>
          </ac:spMkLst>
        </pc:spChg>
        <pc:spChg chg="mod">
          <ac:chgData name="Roumpis, Konstantinos" userId="6c72b8e3-3757-4137-ae4f-83d233c85c4b" providerId="ADAL" clId="{5706A0CD-19A8-4DE4-933D-7D9D720434E9}" dt="2023-10-21T18:46:17.789" v="2"/>
          <ac:spMkLst>
            <pc:docMk/>
            <pc:sldMk cId="481143055" sldId="2142533552"/>
            <ac:spMk id="10" creationId="{AC7ED234-F83C-8DF3-F320-BFED6221148C}"/>
          </ac:spMkLst>
        </pc:spChg>
        <pc:spChg chg="mod">
          <ac:chgData name="Roumpis, Konstantinos" userId="6c72b8e3-3757-4137-ae4f-83d233c85c4b" providerId="ADAL" clId="{5706A0CD-19A8-4DE4-933D-7D9D720434E9}" dt="2023-10-21T18:46:17.789" v="2"/>
          <ac:spMkLst>
            <pc:docMk/>
            <pc:sldMk cId="481143055" sldId="2142533552"/>
            <ac:spMk id="11" creationId="{0CFFFAC6-A29C-D552-8D06-0D7A878678EC}"/>
          </ac:spMkLst>
        </pc:spChg>
        <pc:spChg chg="del">
          <ac:chgData name="Roumpis, Konstantinos" userId="6c72b8e3-3757-4137-ae4f-83d233c85c4b" providerId="ADAL" clId="{5706A0CD-19A8-4DE4-933D-7D9D720434E9}" dt="2023-10-21T18:46:16.987" v="1" actId="478"/>
          <ac:spMkLst>
            <pc:docMk/>
            <pc:sldMk cId="481143055" sldId="2142533552"/>
            <ac:spMk id="13" creationId="{838A9CD2-ECD7-4EA0-8D39-B727C041E1AF}"/>
          </ac:spMkLst>
        </pc:spChg>
        <pc:spChg chg="mod">
          <ac:chgData name="Roumpis, Konstantinos" userId="6c72b8e3-3757-4137-ae4f-83d233c85c4b" providerId="ADAL" clId="{5706A0CD-19A8-4DE4-933D-7D9D720434E9}" dt="2023-10-21T18:46:17.789" v="2"/>
          <ac:spMkLst>
            <pc:docMk/>
            <pc:sldMk cId="481143055" sldId="2142533552"/>
            <ac:spMk id="15" creationId="{761BE2E7-CC49-599E-FD3A-0DE0BF8A4051}"/>
          </ac:spMkLst>
        </pc:spChg>
        <pc:spChg chg="del">
          <ac:chgData name="Roumpis, Konstantinos" userId="6c72b8e3-3757-4137-ae4f-83d233c85c4b" providerId="ADAL" clId="{5706A0CD-19A8-4DE4-933D-7D9D720434E9}" dt="2023-10-21T18:46:16.987" v="1" actId="478"/>
          <ac:spMkLst>
            <pc:docMk/>
            <pc:sldMk cId="481143055" sldId="2142533552"/>
            <ac:spMk id="26" creationId="{486A0696-9997-4D7B-9069-28FDAE1D20E9}"/>
          </ac:spMkLst>
        </pc:spChg>
        <pc:spChg chg="mod">
          <ac:chgData name="Roumpis, Konstantinos" userId="6c72b8e3-3757-4137-ae4f-83d233c85c4b" providerId="ADAL" clId="{5706A0CD-19A8-4DE4-933D-7D9D720434E9}" dt="2023-10-21T18:46:17.789" v="2"/>
          <ac:spMkLst>
            <pc:docMk/>
            <pc:sldMk cId="481143055" sldId="2142533552"/>
            <ac:spMk id="28" creationId="{854260F4-B89A-063A-CB7F-2E14296BFF38}"/>
          </ac:spMkLst>
        </pc:spChg>
        <pc:spChg chg="mod">
          <ac:chgData name="Roumpis, Konstantinos" userId="6c72b8e3-3757-4137-ae4f-83d233c85c4b" providerId="ADAL" clId="{5706A0CD-19A8-4DE4-933D-7D9D720434E9}" dt="2023-10-21T18:46:17.789" v="2"/>
          <ac:spMkLst>
            <pc:docMk/>
            <pc:sldMk cId="481143055" sldId="2142533552"/>
            <ac:spMk id="30" creationId="{2DF53E24-F2F2-771F-2DFB-4BD2915C7330}"/>
          </ac:spMkLst>
        </pc:spChg>
        <pc:spChg chg="del">
          <ac:chgData name="Roumpis, Konstantinos" userId="6c72b8e3-3757-4137-ae4f-83d233c85c4b" providerId="ADAL" clId="{5706A0CD-19A8-4DE4-933D-7D9D720434E9}" dt="2023-10-21T18:46:16.987" v="1" actId="478"/>
          <ac:spMkLst>
            <pc:docMk/>
            <pc:sldMk cId="481143055" sldId="2142533552"/>
            <ac:spMk id="36" creationId="{2BBA9507-A151-4B48-95C6-DA6C0C80C36D}"/>
          </ac:spMkLst>
        </pc:spChg>
        <pc:spChg chg="mod">
          <ac:chgData name="Roumpis, Konstantinos" userId="6c72b8e3-3757-4137-ae4f-83d233c85c4b" providerId="ADAL" clId="{5706A0CD-19A8-4DE4-933D-7D9D720434E9}" dt="2023-10-21T18:46:17.789" v="2"/>
          <ac:spMkLst>
            <pc:docMk/>
            <pc:sldMk cId="481143055" sldId="2142533552"/>
            <ac:spMk id="37" creationId="{9EE4A2A7-C0AE-15E1-5142-AC17DBCE7C81}"/>
          </ac:spMkLst>
        </pc:spChg>
        <pc:spChg chg="mod">
          <ac:chgData name="Roumpis, Konstantinos" userId="6c72b8e3-3757-4137-ae4f-83d233c85c4b" providerId="ADAL" clId="{5706A0CD-19A8-4DE4-933D-7D9D720434E9}" dt="2023-10-21T18:46:17.789" v="2"/>
          <ac:spMkLst>
            <pc:docMk/>
            <pc:sldMk cId="481143055" sldId="2142533552"/>
            <ac:spMk id="38" creationId="{C5A03B7A-BE01-7056-51C6-6F9B2DDE00F9}"/>
          </ac:spMkLst>
        </pc:spChg>
        <pc:spChg chg="del">
          <ac:chgData name="Roumpis, Konstantinos" userId="6c72b8e3-3757-4137-ae4f-83d233c85c4b" providerId="ADAL" clId="{5706A0CD-19A8-4DE4-933D-7D9D720434E9}" dt="2023-10-21T18:46:16.987" v="1" actId="478"/>
          <ac:spMkLst>
            <pc:docMk/>
            <pc:sldMk cId="481143055" sldId="2142533552"/>
            <ac:spMk id="39" creationId="{3A15089D-5317-463A-88F1-8744E77F36DD}"/>
          </ac:spMkLst>
        </pc:spChg>
        <pc:spChg chg="del">
          <ac:chgData name="Roumpis, Konstantinos" userId="6c72b8e3-3757-4137-ae4f-83d233c85c4b" providerId="ADAL" clId="{5706A0CD-19A8-4DE4-933D-7D9D720434E9}" dt="2023-10-21T18:46:16.987" v="1" actId="478"/>
          <ac:spMkLst>
            <pc:docMk/>
            <pc:sldMk cId="481143055" sldId="2142533552"/>
            <ac:spMk id="44" creationId="{ED3C1702-86E5-45AC-8830-574F2BF02943}"/>
          </ac:spMkLst>
        </pc:spChg>
        <pc:spChg chg="del">
          <ac:chgData name="Roumpis, Konstantinos" userId="6c72b8e3-3757-4137-ae4f-83d233c85c4b" providerId="ADAL" clId="{5706A0CD-19A8-4DE4-933D-7D9D720434E9}" dt="2023-10-21T18:46:16.987" v="1" actId="478"/>
          <ac:spMkLst>
            <pc:docMk/>
            <pc:sldMk cId="481143055" sldId="2142533552"/>
            <ac:spMk id="46" creationId="{D86610A6-AEBE-410F-AD19-E6973BD3A600}"/>
          </ac:spMkLst>
        </pc:spChg>
        <pc:spChg chg="mod">
          <ac:chgData name="Roumpis, Konstantinos" userId="6c72b8e3-3757-4137-ae4f-83d233c85c4b" providerId="ADAL" clId="{5706A0CD-19A8-4DE4-933D-7D9D720434E9}" dt="2023-10-21T18:46:17.789" v="2"/>
          <ac:spMkLst>
            <pc:docMk/>
            <pc:sldMk cId="481143055" sldId="2142533552"/>
            <ac:spMk id="48" creationId="{4F008EE4-2AA0-E1CE-85AB-B7A4A3230F09}"/>
          </ac:spMkLst>
        </pc:spChg>
        <pc:spChg chg="mod">
          <ac:chgData name="Roumpis, Konstantinos" userId="6c72b8e3-3757-4137-ae4f-83d233c85c4b" providerId="ADAL" clId="{5706A0CD-19A8-4DE4-933D-7D9D720434E9}" dt="2023-10-21T18:46:17.789" v="2"/>
          <ac:spMkLst>
            <pc:docMk/>
            <pc:sldMk cId="481143055" sldId="2142533552"/>
            <ac:spMk id="49" creationId="{12DB9F1F-AD40-1A55-DB69-11D52A66BA26}"/>
          </ac:spMkLst>
        </pc:spChg>
        <pc:spChg chg="mod">
          <ac:chgData name="Roumpis, Konstantinos" userId="6c72b8e3-3757-4137-ae4f-83d233c85c4b" providerId="ADAL" clId="{5706A0CD-19A8-4DE4-933D-7D9D720434E9}" dt="2023-10-21T18:46:17.789" v="2"/>
          <ac:spMkLst>
            <pc:docMk/>
            <pc:sldMk cId="481143055" sldId="2142533552"/>
            <ac:spMk id="50" creationId="{3C4D8F8E-3921-D238-A017-8B53740524B3}"/>
          </ac:spMkLst>
        </pc:spChg>
        <pc:spChg chg="add mod">
          <ac:chgData name="Roumpis, Konstantinos" userId="6c72b8e3-3757-4137-ae4f-83d233c85c4b" providerId="ADAL" clId="{5706A0CD-19A8-4DE4-933D-7D9D720434E9}" dt="2023-10-21T18:47:47.196" v="161" actId="113"/>
          <ac:spMkLst>
            <pc:docMk/>
            <pc:sldMk cId="481143055" sldId="2142533552"/>
            <ac:spMk id="51" creationId="{AA0C8C28-56B9-98C7-6EDD-37A533A8C37C}"/>
          </ac:spMkLst>
        </pc:spChg>
        <pc:grpChg chg="add mod">
          <ac:chgData name="Roumpis, Konstantinos" userId="6c72b8e3-3757-4137-ae4f-83d233c85c4b" providerId="ADAL" clId="{5706A0CD-19A8-4DE4-933D-7D9D720434E9}" dt="2023-10-21T18:46:17.789" v="2"/>
          <ac:grpSpMkLst>
            <pc:docMk/>
            <pc:sldMk cId="481143055" sldId="2142533552"/>
            <ac:grpSpMk id="4" creationId="{33B550B1-4C1D-91DC-01FB-43B2AC27E4CC}"/>
          </ac:grpSpMkLst>
        </pc:grpChg>
        <pc:grpChg chg="mod">
          <ac:chgData name="Roumpis, Konstantinos" userId="6c72b8e3-3757-4137-ae4f-83d233c85c4b" providerId="ADAL" clId="{5706A0CD-19A8-4DE4-933D-7D9D720434E9}" dt="2023-10-21T18:46:17.789" v="2"/>
          <ac:grpSpMkLst>
            <pc:docMk/>
            <pc:sldMk cId="481143055" sldId="2142533552"/>
            <ac:grpSpMk id="7" creationId="{17F75B6A-C90E-CB5D-8AA4-9D2799AED0F3}"/>
          </ac:grpSpMkLst>
        </pc:grpChg>
        <pc:grpChg chg="mod">
          <ac:chgData name="Roumpis, Konstantinos" userId="6c72b8e3-3757-4137-ae4f-83d233c85c4b" providerId="ADAL" clId="{5706A0CD-19A8-4DE4-933D-7D9D720434E9}" dt="2023-10-21T18:46:17.789" v="2"/>
          <ac:grpSpMkLst>
            <pc:docMk/>
            <pc:sldMk cId="481143055" sldId="2142533552"/>
            <ac:grpSpMk id="12" creationId="{D91A1C5E-A621-AA5A-3F97-567781352F2C}"/>
          </ac:grpSpMkLst>
        </pc:grpChg>
        <pc:grpChg chg="del">
          <ac:chgData name="Roumpis, Konstantinos" userId="6c72b8e3-3757-4137-ae4f-83d233c85c4b" providerId="ADAL" clId="{5706A0CD-19A8-4DE4-933D-7D9D720434E9}" dt="2023-10-21T18:46:16.987" v="1" actId="478"/>
          <ac:grpSpMkLst>
            <pc:docMk/>
            <pc:sldMk cId="481143055" sldId="2142533552"/>
            <ac:grpSpMk id="17" creationId="{112571BD-20EB-4B4F-ABC7-A768F191A43E}"/>
          </ac:grpSpMkLst>
        </pc:grpChg>
        <pc:grpChg chg="del">
          <ac:chgData name="Roumpis, Konstantinos" userId="6c72b8e3-3757-4137-ae4f-83d233c85c4b" providerId="ADAL" clId="{5706A0CD-19A8-4DE4-933D-7D9D720434E9}" dt="2023-10-21T18:46:16.987" v="1" actId="478"/>
          <ac:grpSpMkLst>
            <pc:docMk/>
            <pc:sldMk cId="481143055" sldId="2142533552"/>
            <ac:grpSpMk id="18" creationId="{FFE1FB12-3DC8-45E5-AE61-6A977B27D1AB}"/>
          </ac:grpSpMkLst>
        </pc:grpChg>
        <pc:grpChg chg="mod">
          <ac:chgData name="Roumpis, Konstantinos" userId="6c72b8e3-3757-4137-ae4f-83d233c85c4b" providerId="ADAL" clId="{5706A0CD-19A8-4DE4-933D-7D9D720434E9}" dt="2023-10-21T18:46:17.789" v="2"/>
          <ac:grpSpMkLst>
            <pc:docMk/>
            <pc:sldMk cId="481143055" sldId="2142533552"/>
            <ac:grpSpMk id="24" creationId="{E7BF73A4-8C8E-FBBD-1150-D1D4BDD416B9}"/>
          </ac:grpSpMkLst>
        </pc:grpChg>
        <pc:grpChg chg="del">
          <ac:chgData name="Roumpis, Konstantinos" userId="6c72b8e3-3757-4137-ae4f-83d233c85c4b" providerId="ADAL" clId="{5706A0CD-19A8-4DE4-933D-7D9D720434E9}" dt="2023-10-21T18:46:16.987" v="1" actId="478"/>
          <ac:grpSpMkLst>
            <pc:docMk/>
            <pc:sldMk cId="481143055" sldId="2142533552"/>
            <ac:grpSpMk id="41" creationId="{99A17CB0-A26B-4C16-BA8C-C5398E927DE3}"/>
          </ac:grpSpMkLst>
        </pc:grpChg>
        <pc:picChg chg="mod">
          <ac:chgData name="Roumpis, Konstantinos" userId="6c72b8e3-3757-4137-ae4f-83d233c85c4b" providerId="ADAL" clId="{5706A0CD-19A8-4DE4-933D-7D9D720434E9}" dt="2023-10-21T18:46:17.789" v="2"/>
          <ac:picMkLst>
            <pc:docMk/>
            <pc:sldMk cId="481143055" sldId="2142533552"/>
            <ac:picMk id="5" creationId="{D81BD286-EE6C-5F49-2917-BAEBA7346A04}"/>
          </ac:picMkLst>
        </pc:picChg>
        <pc:picChg chg="mod">
          <ac:chgData name="Roumpis, Konstantinos" userId="6c72b8e3-3757-4137-ae4f-83d233c85c4b" providerId="ADAL" clId="{5706A0CD-19A8-4DE4-933D-7D9D720434E9}" dt="2023-10-21T18:46:17.789" v="2"/>
          <ac:picMkLst>
            <pc:docMk/>
            <pc:sldMk cId="481143055" sldId="2142533552"/>
            <ac:picMk id="6" creationId="{599E0DC0-1FCB-70B4-439E-C602ECEF0354}"/>
          </ac:picMkLst>
        </pc:picChg>
        <pc:picChg chg="mod">
          <ac:chgData name="Roumpis, Konstantinos" userId="6c72b8e3-3757-4137-ae4f-83d233c85c4b" providerId="ADAL" clId="{5706A0CD-19A8-4DE4-933D-7D9D720434E9}" dt="2023-10-21T18:46:17.789" v="2"/>
          <ac:picMkLst>
            <pc:docMk/>
            <pc:sldMk cId="481143055" sldId="2142533552"/>
            <ac:picMk id="33" creationId="{4EA7C01C-87AE-9CB3-69A7-F33465572F50}"/>
          </ac:picMkLst>
        </pc:picChg>
        <pc:picChg chg="mod">
          <ac:chgData name="Roumpis, Konstantinos" userId="6c72b8e3-3757-4137-ae4f-83d233c85c4b" providerId="ADAL" clId="{5706A0CD-19A8-4DE4-933D-7D9D720434E9}" dt="2023-10-21T18:46:17.789" v="2"/>
          <ac:picMkLst>
            <pc:docMk/>
            <pc:sldMk cId="481143055" sldId="2142533552"/>
            <ac:picMk id="34" creationId="{F28DEDED-2364-B156-C6B1-E6C63C3E5371}"/>
          </ac:picMkLst>
        </pc:picChg>
        <pc:picChg chg="mod">
          <ac:chgData name="Roumpis, Konstantinos" userId="6c72b8e3-3757-4137-ae4f-83d233c85c4b" providerId="ADAL" clId="{5706A0CD-19A8-4DE4-933D-7D9D720434E9}" dt="2023-10-21T18:46:17.789" v="2"/>
          <ac:picMkLst>
            <pc:docMk/>
            <pc:sldMk cId="481143055" sldId="2142533552"/>
            <ac:picMk id="35" creationId="{1D837C5D-278E-B274-A6BA-7CC8BCEBF7E1}"/>
          </ac:picMkLst>
        </pc:picChg>
        <pc:cxnChg chg="del mod">
          <ac:chgData name="Roumpis, Konstantinos" userId="6c72b8e3-3757-4137-ae4f-83d233c85c4b" providerId="ADAL" clId="{5706A0CD-19A8-4DE4-933D-7D9D720434E9}" dt="2023-10-21T18:46:16.987" v="1" actId="478"/>
          <ac:cxnSpMkLst>
            <pc:docMk/>
            <pc:sldMk cId="481143055" sldId="2142533552"/>
            <ac:cxnSpMk id="14" creationId="{C9E8039F-C3F6-4109-A904-2377635BB9A1}"/>
          </ac:cxnSpMkLst>
        </pc:cxnChg>
        <pc:cxnChg chg="mod">
          <ac:chgData name="Roumpis, Konstantinos" userId="6c72b8e3-3757-4137-ae4f-83d233c85c4b" providerId="ADAL" clId="{5706A0CD-19A8-4DE4-933D-7D9D720434E9}" dt="2023-10-21T18:46:17.789" v="2"/>
          <ac:cxnSpMkLst>
            <pc:docMk/>
            <pc:sldMk cId="481143055" sldId="2142533552"/>
            <ac:cxnSpMk id="16" creationId="{AB559851-5F94-3B5E-924B-857A9F7EF0EE}"/>
          </ac:cxnSpMkLst>
        </pc:cxnChg>
        <pc:cxnChg chg="mod">
          <ac:chgData name="Roumpis, Konstantinos" userId="6c72b8e3-3757-4137-ae4f-83d233c85c4b" providerId="ADAL" clId="{5706A0CD-19A8-4DE4-933D-7D9D720434E9}" dt="2023-10-21T18:46:17.789" v="2"/>
          <ac:cxnSpMkLst>
            <pc:docMk/>
            <pc:sldMk cId="481143055" sldId="2142533552"/>
            <ac:cxnSpMk id="21" creationId="{1053D785-4D8B-D8F1-A09C-EE51FA1AE4B0}"/>
          </ac:cxnSpMkLst>
        </pc:cxnChg>
        <pc:cxnChg chg="mod">
          <ac:chgData name="Roumpis, Konstantinos" userId="6c72b8e3-3757-4137-ae4f-83d233c85c4b" providerId="ADAL" clId="{5706A0CD-19A8-4DE4-933D-7D9D720434E9}" dt="2023-10-21T18:46:17.789" v="2"/>
          <ac:cxnSpMkLst>
            <pc:docMk/>
            <pc:sldMk cId="481143055" sldId="2142533552"/>
            <ac:cxnSpMk id="25" creationId="{644B193D-9A7D-3BB2-B562-45147D7EF911}"/>
          </ac:cxnSpMkLst>
        </pc:cxnChg>
        <pc:cxnChg chg="del mod">
          <ac:chgData name="Roumpis, Konstantinos" userId="6c72b8e3-3757-4137-ae4f-83d233c85c4b" providerId="ADAL" clId="{5706A0CD-19A8-4DE4-933D-7D9D720434E9}" dt="2023-10-21T18:46:16.987" v="1" actId="478"/>
          <ac:cxnSpMkLst>
            <pc:docMk/>
            <pc:sldMk cId="481143055" sldId="2142533552"/>
            <ac:cxnSpMk id="27" creationId="{31FE6FE7-6A33-4C78-A173-EB85B2F7D53B}"/>
          </ac:cxnSpMkLst>
        </pc:cxnChg>
        <pc:cxnChg chg="mod">
          <ac:chgData name="Roumpis, Konstantinos" userId="6c72b8e3-3757-4137-ae4f-83d233c85c4b" providerId="ADAL" clId="{5706A0CD-19A8-4DE4-933D-7D9D720434E9}" dt="2023-10-21T18:46:17.789" v="2"/>
          <ac:cxnSpMkLst>
            <pc:docMk/>
            <pc:sldMk cId="481143055" sldId="2142533552"/>
            <ac:cxnSpMk id="29" creationId="{DEF9EB6E-7807-7F9B-167E-2A1573DDF94D}"/>
          </ac:cxnSpMkLst>
        </pc:cxnChg>
        <pc:cxnChg chg="mod">
          <ac:chgData name="Roumpis, Konstantinos" userId="6c72b8e3-3757-4137-ae4f-83d233c85c4b" providerId="ADAL" clId="{5706A0CD-19A8-4DE4-933D-7D9D720434E9}" dt="2023-10-21T18:46:17.789" v="2"/>
          <ac:cxnSpMkLst>
            <pc:docMk/>
            <pc:sldMk cId="481143055" sldId="2142533552"/>
            <ac:cxnSpMk id="31" creationId="{66CB07A4-1ACD-E069-C0D2-30E46B70E004}"/>
          </ac:cxnSpMkLst>
        </pc:cxnChg>
        <pc:cxnChg chg="mod">
          <ac:chgData name="Roumpis, Konstantinos" userId="6c72b8e3-3757-4137-ae4f-83d233c85c4b" providerId="ADAL" clId="{5706A0CD-19A8-4DE4-933D-7D9D720434E9}" dt="2023-10-21T18:46:17.789" v="2"/>
          <ac:cxnSpMkLst>
            <pc:docMk/>
            <pc:sldMk cId="481143055" sldId="2142533552"/>
            <ac:cxnSpMk id="32" creationId="{C79F4EA5-D2B5-39CF-F829-E9ED15D061FD}"/>
          </ac:cxnSpMkLst>
        </pc:cxnChg>
        <pc:cxnChg chg="del mod">
          <ac:chgData name="Roumpis, Konstantinos" userId="6c72b8e3-3757-4137-ae4f-83d233c85c4b" providerId="ADAL" clId="{5706A0CD-19A8-4DE4-933D-7D9D720434E9}" dt="2023-10-21T18:46:16.987" v="1" actId="478"/>
          <ac:cxnSpMkLst>
            <pc:docMk/>
            <pc:sldMk cId="481143055" sldId="2142533552"/>
            <ac:cxnSpMk id="40" creationId="{AC8DFEF7-937B-41CA-97C1-21E4EEDAD407}"/>
          </ac:cxnSpMkLst>
        </pc:cxnChg>
        <pc:cxnChg chg="del mod">
          <ac:chgData name="Roumpis, Konstantinos" userId="6c72b8e3-3757-4137-ae4f-83d233c85c4b" providerId="ADAL" clId="{5706A0CD-19A8-4DE4-933D-7D9D720434E9}" dt="2023-10-21T18:46:16.987" v="1" actId="478"/>
          <ac:cxnSpMkLst>
            <pc:docMk/>
            <pc:sldMk cId="481143055" sldId="2142533552"/>
            <ac:cxnSpMk id="45" creationId="{B31C6D94-010D-4F8C-8C7E-8B41EB3509D9}"/>
          </ac:cxnSpMkLst>
        </pc:cxnChg>
        <pc:cxnChg chg="del mod">
          <ac:chgData name="Roumpis, Konstantinos" userId="6c72b8e3-3757-4137-ae4f-83d233c85c4b" providerId="ADAL" clId="{5706A0CD-19A8-4DE4-933D-7D9D720434E9}" dt="2023-10-21T18:46:16.987" v="1" actId="478"/>
          <ac:cxnSpMkLst>
            <pc:docMk/>
            <pc:sldMk cId="481143055" sldId="2142533552"/>
            <ac:cxnSpMk id="47" creationId="{0BB508A6-136E-4830-A76F-9AB918B4A135}"/>
          </ac:cxnSpMkLst>
        </pc:cxnChg>
      </pc:sldChg>
      <pc:sldChg chg="del">
        <pc:chgData name="Roumpis, Konstantinos" userId="6c72b8e3-3757-4137-ae4f-83d233c85c4b" providerId="ADAL" clId="{5706A0CD-19A8-4DE4-933D-7D9D720434E9}" dt="2023-10-21T18:50:00.727" v="184" actId="47"/>
        <pc:sldMkLst>
          <pc:docMk/>
          <pc:sldMk cId="3996664444" sldId="2142533553"/>
        </pc:sldMkLst>
      </pc:sldChg>
      <pc:sldChg chg="addSp delSp modSp mod">
        <pc:chgData name="Roumpis, Konstantinos" userId="6c72b8e3-3757-4137-ae4f-83d233c85c4b" providerId="ADAL" clId="{5706A0CD-19A8-4DE4-933D-7D9D720434E9}" dt="2023-10-21T18:51:24.799" v="207" actId="108"/>
        <pc:sldMkLst>
          <pc:docMk/>
          <pc:sldMk cId="2128976128" sldId="2142533554"/>
        </pc:sldMkLst>
        <pc:spChg chg="add mod">
          <ac:chgData name="Roumpis, Konstantinos" userId="6c72b8e3-3757-4137-ae4f-83d233c85c4b" providerId="ADAL" clId="{5706A0CD-19A8-4DE4-933D-7D9D720434E9}" dt="2023-10-21T18:51:24.799" v="207" actId="108"/>
          <ac:spMkLst>
            <pc:docMk/>
            <pc:sldMk cId="2128976128" sldId="2142533554"/>
            <ac:spMk id="3" creationId="{F6C777E3-49EC-D8D2-08F1-0FF7525DF862}"/>
          </ac:spMkLst>
        </pc:spChg>
        <pc:spChg chg="add mod">
          <ac:chgData name="Roumpis, Konstantinos" userId="6c72b8e3-3757-4137-ae4f-83d233c85c4b" providerId="ADAL" clId="{5706A0CD-19A8-4DE4-933D-7D9D720434E9}" dt="2023-10-21T18:50:20.227" v="186"/>
          <ac:spMkLst>
            <pc:docMk/>
            <pc:sldMk cId="2128976128" sldId="2142533554"/>
            <ac:spMk id="4" creationId="{28AFE5BB-038C-C00E-2D5B-386E95D85EFA}"/>
          </ac:spMkLst>
        </pc:spChg>
        <pc:spChg chg="add mod">
          <ac:chgData name="Roumpis, Konstantinos" userId="6c72b8e3-3757-4137-ae4f-83d233c85c4b" providerId="ADAL" clId="{5706A0CD-19A8-4DE4-933D-7D9D720434E9}" dt="2023-10-21T18:50:24.942" v="197" actId="5793"/>
          <ac:spMkLst>
            <pc:docMk/>
            <pc:sldMk cId="2128976128" sldId="2142533554"/>
            <ac:spMk id="5" creationId="{04B3A00C-C27E-6C96-A01E-8FF4FA8401A3}"/>
          </ac:spMkLst>
        </pc:spChg>
        <pc:spChg chg="add mod">
          <ac:chgData name="Roumpis, Konstantinos" userId="6c72b8e3-3757-4137-ae4f-83d233c85c4b" providerId="ADAL" clId="{5706A0CD-19A8-4DE4-933D-7D9D720434E9}" dt="2023-10-21T18:50:20.227" v="186"/>
          <ac:spMkLst>
            <pc:docMk/>
            <pc:sldMk cId="2128976128" sldId="2142533554"/>
            <ac:spMk id="6" creationId="{D403894C-7F05-4A56-4CF8-D00FD5834439}"/>
          </ac:spMkLst>
        </pc:spChg>
        <pc:spChg chg="add mod">
          <ac:chgData name="Roumpis, Konstantinos" userId="6c72b8e3-3757-4137-ae4f-83d233c85c4b" providerId="ADAL" clId="{5706A0CD-19A8-4DE4-933D-7D9D720434E9}" dt="2023-10-21T18:50:20.227" v="186"/>
          <ac:spMkLst>
            <pc:docMk/>
            <pc:sldMk cId="2128976128" sldId="2142533554"/>
            <ac:spMk id="9" creationId="{A008CAF4-C167-6DC4-C2AA-D41B0A23FF72}"/>
          </ac:spMkLst>
        </pc:spChg>
        <pc:spChg chg="add mod">
          <ac:chgData name="Roumpis, Konstantinos" userId="6c72b8e3-3757-4137-ae4f-83d233c85c4b" providerId="ADAL" clId="{5706A0CD-19A8-4DE4-933D-7D9D720434E9}" dt="2023-10-21T18:50:20.227" v="186"/>
          <ac:spMkLst>
            <pc:docMk/>
            <pc:sldMk cId="2128976128" sldId="2142533554"/>
            <ac:spMk id="10" creationId="{2EC3DEE4-154A-673F-DDC7-119F5A2D2872}"/>
          </ac:spMkLst>
        </pc:spChg>
        <pc:spChg chg="add mod">
          <ac:chgData name="Roumpis, Konstantinos" userId="6c72b8e3-3757-4137-ae4f-83d233c85c4b" providerId="ADAL" clId="{5706A0CD-19A8-4DE4-933D-7D9D720434E9}" dt="2023-10-21T18:50:20.227" v="186"/>
          <ac:spMkLst>
            <pc:docMk/>
            <pc:sldMk cId="2128976128" sldId="2142533554"/>
            <ac:spMk id="11" creationId="{D542228D-954A-63AB-2A89-8ACC7282E473}"/>
          </ac:spMkLst>
        </pc:spChg>
        <pc:spChg chg="mod">
          <ac:chgData name="Roumpis, Konstantinos" userId="6c72b8e3-3757-4137-ae4f-83d233c85c4b" providerId="ADAL" clId="{5706A0CD-19A8-4DE4-933D-7D9D720434E9}" dt="2023-10-21T18:50:20.227" v="186"/>
          <ac:spMkLst>
            <pc:docMk/>
            <pc:sldMk cId="2128976128" sldId="2142533554"/>
            <ac:spMk id="13" creationId="{55F49A48-7CB7-2427-B5B5-E9E7AC17860A}"/>
          </ac:spMkLst>
        </pc:spChg>
        <pc:spChg chg="mod">
          <ac:chgData name="Roumpis, Konstantinos" userId="6c72b8e3-3757-4137-ae4f-83d233c85c4b" providerId="ADAL" clId="{5706A0CD-19A8-4DE4-933D-7D9D720434E9}" dt="2023-10-21T18:50:20.227" v="186"/>
          <ac:spMkLst>
            <pc:docMk/>
            <pc:sldMk cId="2128976128" sldId="2142533554"/>
            <ac:spMk id="14" creationId="{8A368C47-7491-4F7F-4727-C824996FD95B}"/>
          </ac:spMkLst>
        </pc:spChg>
        <pc:spChg chg="add mod">
          <ac:chgData name="Roumpis, Konstantinos" userId="6c72b8e3-3757-4137-ae4f-83d233c85c4b" providerId="ADAL" clId="{5706A0CD-19A8-4DE4-933D-7D9D720434E9}" dt="2023-10-21T18:50:20.227" v="186"/>
          <ac:spMkLst>
            <pc:docMk/>
            <pc:sldMk cId="2128976128" sldId="2142533554"/>
            <ac:spMk id="15" creationId="{5745FFC4-64F6-D2BE-F33F-FDA17254FAEB}"/>
          </ac:spMkLst>
        </pc:spChg>
        <pc:spChg chg="add mod">
          <ac:chgData name="Roumpis, Konstantinos" userId="6c72b8e3-3757-4137-ae4f-83d233c85c4b" providerId="ADAL" clId="{5706A0CD-19A8-4DE4-933D-7D9D720434E9}" dt="2023-10-21T18:50:20.227" v="186"/>
          <ac:spMkLst>
            <pc:docMk/>
            <pc:sldMk cId="2128976128" sldId="2142533554"/>
            <ac:spMk id="21" creationId="{6913BC76-6F62-0F91-8463-4C6A222F657F}"/>
          </ac:spMkLst>
        </pc:spChg>
        <pc:spChg chg="add mod">
          <ac:chgData name="Roumpis, Konstantinos" userId="6c72b8e3-3757-4137-ae4f-83d233c85c4b" providerId="ADAL" clId="{5706A0CD-19A8-4DE4-933D-7D9D720434E9}" dt="2023-10-21T18:50:20.227" v="186"/>
          <ac:spMkLst>
            <pc:docMk/>
            <pc:sldMk cId="2128976128" sldId="2142533554"/>
            <ac:spMk id="24" creationId="{85B080F5-2EF9-CD8E-41E0-7DD5B1828300}"/>
          </ac:spMkLst>
        </pc:spChg>
        <pc:spChg chg="mod">
          <ac:chgData name="Roumpis, Konstantinos" userId="6c72b8e3-3757-4137-ae4f-83d233c85c4b" providerId="ADAL" clId="{5706A0CD-19A8-4DE4-933D-7D9D720434E9}" dt="2023-10-21T18:50:20.227" v="186"/>
          <ac:spMkLst>
            <pc:docMk/>
            <pc:sldMk cId="2128976128" sldId="2142533554"/>
            <ac:spMk id="27" creationId="{42981EE0-DCBD-30CD-98CC-602C69B3612C}"/>
          </ac:spMkLst>
        </pc:spChg>
        <pc:spChg chg="mod">
          <ac:chgData name="Roumpis, Konstantinos" userId="6c72b8e3-3757-4137-ae4f-83d233c85c4b" providerId="ADAL" clId="{5706A0CD-19A8-4DE4-933D-7D9D720434E9}" dt="2023-10-21T18:50:20.227" v="186"/>
          <ac:spMkLst>
            <pc:docMk/>
            <pc:sldMk cId="2128976128" sldId="2142533554"/>
            <ac:spMk id="28" creationId="{08C8B038-81EE-8752-193B-1CDB454C3EA9}"/>
          </ac:spMkLst>
        </pc:spChg>
        <pc:spChg chg="mod">
          <ac:chgData name="Roumpis, Konstantinos" userId="6c72b8e3-3757-4137-ae4f-83d233c85c4b" providerId="ADAL" clId="{5706A0CD-19A8-4DE4-933D-7D9D720434E9}" dt="2023-10-21T18:50:20.227" v="186"/>
          <ac:spMkLst>
            <pc:docMk/>
            <pc:sldMk cId="2128976128" sldId="2142533554"/>
            <ac:spMk id="29" creationId="{CB8C538F-5F11-52EF-EE9E-8ACDF5A72EB7}"/>
          </ac:spMkLst>
        </pc:spChg>
        <pc:spChg chg="add mod">
          <ac:chgData name="Roumpis, Konstantinos" userId="6c72b8e3-3757-4137-ae4f-83d233c85c4b" providerId="ADAL" clId="{5706A0CD-19A8-4DE4-933D-7D9D720434E9}" dt="2023-10-21T18:50:20.227" v="186"/>
          <ac:spMkLst>
            <pc:docMk/>
            <pc:sldMk cId="2128976128" sldId="2142533554"/>
            <ac:spMk id="32" creationId="{771AB770-AC34-ACF3-24A6-158689F822B8}"/>
          </ac:spMkLst>
        </pc:spChg>
        <pc:spChg chg="add mod">
          <ac:chgData name="Roumpis, Konstantinos" userId="6c72b8e3-3757-4137-ae4f-83d233c85c4b" providerId="ADAL" clId="{5706A0CD-19A8-4DE4-933D-7D9D720434E9}" dt="2023-10-21T18:50:20.227" v="186"/>
          <ac:spMkLst>
            <pc:docMk/>
            <pc:sldMk cId="2128976128" sldId="2142533554"/>
            <ac:spMk id="34" creationId="{74EF5812-A956-D514-501D-3273B4503D09}"/>
          </ac:spMkLst>
        </pc:spChg>
        <pc:spChg chg="del">
          <ac:chgData name="Roumpis, Konstantinos" userId="6c72b8e3-3757-4137-ae4f-83d233c85c4b" providerId="ADAL" clId="{5706A0CD-19A8-4DE4-933D-7D9D720434E9}" dt="2023-10-21T18:50:19.490" v="185" actId="478"/>
          <ac:spMkLst>
            <pc:docMk/>
            <pc:sldMk cId="2128976128" sldId="2142533554"/>
            <ac:spMk id="36" creationId="{2BBA9507-A151-4B48-95C6-DA6C0C80C36D}"/>
          </ac:spMkLst>
        </pc:spChg>
        <pc:spChg chg="del">
          <ac:chgData name="Roumpis, Konstantinos" userId="6c72b8e3-3757-4137-ae4f-83d233c85c4b" providerId="ADAL" clId="{5706A0CD-19A8-4DE4-933D-7D9D720434E9}" dt="2023-10-21T18:50:19.490" v="185" actId="478"/>
          <ac:spMkLst>
            <pc:docMk/>
            <pc:sldMk cId="2128976128" sldId="2142533554"/>
            <ac:spMk id="37" creationId="{4A27AFD6-EFDD-4531-8E34-5FFA17A9BFE4}"/>
          </ac:spMkLst>
        </pc:spChg>
        <pc:spChg chg="del">
          <ac:chgData name="Roumpis, Konstantinos" userId="6c72b8e3-3757-4137-ae4f-83d233c85c4b" providerId="ADAL" clId="{5706A0CD-19A8-4DE4-933D-7D9D720434E9}" dt="2023-10-21T18:50:19.490" v="185" actId="478"/>
          <ac:spMkLst>
            <pc:docMk/>
            <pc:sldMk cId="2128976128" sldId="2142533554"/>
            <ac:spMk id="38" creationId="{5BD468CC-9777-4115-B86C-55FB7D7D0D0A}"/>
          </ac:spMkLst>
        </pc:spChg>
        <pc:spChg chg="del">
          <ac:chgData name="Roumpis, Konstantinos" userId="6c72b8e3-3757-4137-ae4f-83d233c85c4b" providerId="ADAL" clId="{5706A0CD-19A8-4DE4-933D-7D9D720434E9}" dt="2023-10-21T18:50:19.490" v="185" actId="478"/>
          <ac:spMkLst>
            <pc:docMk/>
            <pc:sldMk cId="2128976128" sldId="2142533554"/>
            <ac:spMk id="42" creationId="{D6A4D889-789B-4A60-AA0C-CBF6554373F9}"/>
          </ac:spMkLst>
        </pc:spChg>
        <pc:spChg chg="del">
          <ac:chgData name="Roumpis, Konstantinos" userId="6c72b8e3-3757-4137-ae4f-83d233c85c4b" providerId="ADAL" clId="{5706A0CD-19A8-4DE4-933D-7D9D720434E9}" dt="2023-10-21T18:50:19.490" v="185" actId="478"/>
          <ac:spMkLst>
            <pc:docMk/>
            <pc:sldMk cId="2128976128" sldId="2142533554"/>
            <ac:spMk id="44" creationId="{BA1C5B51-354C-4D9F-AB6A-5F9E287C10CE}"/>
          </ac:spMkLst>
        </pc:spChg>
        <pc:spChg chg="del">
          <ac:chgData name="Roumpis, Konstantinos" userId="6c72b8e3-3757-4137-ae4f-83d233c85c4b" providerId="ADAL" clId="{5706A0CD-19A8-4DE4-933D-7D9D720434E9}" dt="2023-10-21T18:50:19.490" v="185" actId="478"/>
          <ac:spMkLst>
            <pc:docMk/>
            <pc:sldMk cId="2128976128" sldId="2142533554"/>
            <ac:spMk id="46" creationId="{5DC9710B-DDD2-476C-BB58-5D1C5BBE7DB4}"/>
          </ac:spMkLst>
        </pc:spChg>
        <pc:spChg chg="mod">
          <ac:chgData name="Roumpis, Konstantinos" userId="6c72b8e3-3757-4137-ae4f-83d233c85c4b" providerId="ADAL" clId="{5706A0CD-19A8-4DE4-933D-7D9D720434E9}" dt="2023-10-21T18:50:20.227" v="186"/>
          <ac:spMkLst>
            <pc:docMk/>
            <pc:sldMk cId="2128976128" sldId="2142533554"/>
            <ac:spMk id="48" creationId="{4E83B039-EF0C-4CBB-ADDD-36CBECC99AA4}"/>
          </ac:spMkLst>
        </pc:spChg>
        <pc:spChg chg="del">
          <ac:chgData name="Roumpis, Konstantinos" userId="6c72b8e3-3757-4137-ae4f-83d233c85c4b" providerId="ADAL" clId="{5706A0CD-19A8-4DE4-933D-7D9D720434E9}" dt="2023-10-21T18:50:19.490" v="185" actId="478"/>
          <ac:spMkLst>
            <pc:docMk/>
            <pc:sldMk cId="2128976128" sldId="2142533554"/>
            <ac:spMk id="49" creationId="{8DEAA02C-E982-4758-8517-832F1942DCBA}"/>
          </ac:spMkLst>
        </pc:spChg>
        <pc:spChg chg="del">
          <ac:chgData name="Roumpis, Konstantinos" userId="6c72b8e3-3757-4137-ae4f-83d233c85c4b" providerId="ADAL" clId="{5706A0CD-19A8-4DE4-933D-7D9D720434E9}" dt="2023-10-21T18:50:19.490" v="185" actId="478"/>
          <ac:spMkLst>
            <pc:docMk/>
            <pc:sldMk cId="2128976128" sldId="2142533554"/>
            <ac:spMk id="51" creationId="{DB7DBF0C-D647-43FA-AEFE-D64590211C18}"/>
          </ac:spMkLst>
        </pc:spChg>
        <pc:spChg chg="del">
          <ac:chgData name="Roumpis, Konstantinos" userId="6c72b8e3-3757-4137-ae4f-83d233c85c4b" providerId="ADAL" clId="{5706A0CD-19A8-4DE4-933D-7D9D720434E9}" dt="2023-10-21T18:50:19.490" v="185" actId="478"/>
          <ac:spMkLst>
            <pc:docMk/>
            <pc:sldMk cId="2128976128" sldId="2142533554"/>
            <ac:spMk id="52" creationId="{A37076B4-6082-4885-8960-BB5800F6967B}"/>
          </ac:spMkLst>
        </pc:spChg>
        <pc:spChg chg="del">
          <ac:chgData name="Roumpis, Konstantinos" userId="6c72b8e3-3757-4137-ae4f-83d233c85c4b" providerId="ADAL" clId="{5706A0CD-19A8-4DE4-933D-7D9D720434E9}" dt="2023-10-21T18:50:19.490" v="185" actId="478"/>
          <ac:spMkLst>
            <pc:docMk/>
            <pc:sldMk cId="2128976128" sldId="2142533554"/>
            <ac:spMk id="53" creationId="{E8EECDEF-FB8F-45D0-9EB7-401347BDEFCD}"/>
          </ac:spMkLst>
        </pc:spChg>
        <pc:spChg chg="del">
          <ac:chgData name="Roumpis, Konstantinos" userId="6c72b8e3-3757-4137-ae4f-83d233c85c4b" providerId="ADAL" clId="{5706A0CD-19A8-4DE4-933D-7D9D720434E9}" dt="2023-10-21T18:50:19.490" v="185" actId="478"/>
          <ac:spMkLst>
            <pc:docMk/>
            <pc:sldMk cId="2128976128" sldId="2142533554"/>
            <ac:spMk id="54" creationId="{1F70D36C-7456-4129-B385-49C7EB1099E1}"/>
          </ac:spMkLst>
        </pc:spChg>
        <pc:spChg chg="del">
          <ac:chgData name="Roumpis, Konstantinos" userId="6c72b8e3-3757-4137-ae4f-83d233c85c4b" providerId="ADAL" clId="{5706A0CD-19A8-4DE4-933D-7D9D720434E9}" dt="2023-10-21T18:50:19.490" v="185" actId="478"/>
          <ac:spMkLst>
            <pc:docMk/>
            <pc:sldMk cId="2128976128" sldId="2142533554"/>
            <ac:spMk id="55" creationId="{C1B12D36-6170-4B8F-B230-9F633647F81C}"/>
          </ac:spMkLst>
        </pc:spChg>
        <pc:spChg chg="del">
          <ac:chgData name="Roumpis, Konstantinos" userId="6c72b8e3-3757-4137-ae4f-83d233c85c4b" providerId="ADAL" clId="{5706A0CD-19A8-4DE4-933D-7D9D720434E9}" dt="2023-10-21T18:50:19.490" v="185" actId="478"/>
          <ac:spMkLst>
            <pc:docMk/>
            <pc:sldMk cId="2128976128" sldId="2142533554"/>
            <ac:spMk id="56" creationId="{A2B63BAA-68D2-4928-B251-D6C9F7949237}"/>
          </ac:spMkLst>
        </pc:spChg>
        <pc:spChg chg="mod">
          <ac:chgData name="Roumpis, Konstantinos" userId="6c72b8e3-3757-4137-ae4f-83d233c85c4b" providerId="ADAL" clId="{5706A0CD-19A8-4DE4-933D-7D9D720434E9}" dt="2023-10-21T18:50:20.227" v="186"/>
          <ac:spMkLst>
            <pc:docMk/>
            <pc:sldMk cId="2128976128" sldId="2142533554"/>
            <ac:spMk id="57" creationId="{D2BBB705-51B3-5F64-95E2-06D825F43673}"/>
          </ac:spMkLst>
        </pc:spChg>
        <pc:spChg chg="mod">
          <ac:chgData name="Roumpis, Konstantinos" userId="6c72b8e3-3757-4137-ae4f-83d233c85c4b" providerId="ADAL" clId="{5706A0CD-19A8-4DE4-933D-7D9D720434E9}" dt="2023-10-21T18:50:20.227" v="186"/>
          <ac:spMkLst>
            <pc:docMk/>
            <pc:sldMk cId="2128976128" sldId="2142533554"/>
            <ac:spMk id="58" creationId="{A84F82C9-1AC6-CF33-F692-89231F7591DF}"/>
          </ac:spMkLst>
        </pc:spChg>
        <pc:spChg chg="del">
          <ac:chgData name="Roumpis, Konstantinos" userId="6c72b8e3-3757-4137-ae4f-83d233c85c4b" providerId="ADAL" clId="{5706A0CD-19A8-4DE4-933D-7D9D720434E9}" dt="2023-10-21T18:50:19.490" v="185" actId="478"/>
          <ac:spMkLst>
            <pc:docMk/>
            <pc:sldMk cId="2128976128" sldId="2142533554"/>
            <ac:spMk id="60" creationId="{6CDC98CB-0B64-413D-8544-1DD7B97B5B4C}"/>
          </ac:spMkLst>
        </pc:spChg>
        <pc:spChg chg="del">
          <ac:chgData name="Roumpis, Konstantinos" userId="6c72b8e3-3757-4137-ae4f-83d233c85c4b" providerId="ADAL" clId="{5706A0CD-19A8-4DE4-933D-7D9D720434E9}" dt="2023-10-21T18:50:19.490" v="185" actId="478"/>
          <ac:spMkLst>
            <pc:docMk/>
            <pc:sldMk cId="2128976128" sldId="2142533554"/>
            <ac:spMk id="61" creationId="{EFB47129-C063-44D7-AE3C-E5E8618BF20A}"/>
          </ac:spMkLst>
        </pc:spChg>
        <pc:spChg chg="del">
          <ac:chgData name="Roumpis, Konstantinos" userId="6c72b8e3-3757-4137-ae4f-83d233c85c4b" providerId="ADAL" clId="{5706A0CD-19A8-4DE4-933D-7D9D720434E9}" dt="2023-10-21T18:50:19.490" v="185" actId="478"/>
          <ac:spMkLst>
            <pc:docMk/>
            <pc:sldMk cId="2128976128" sldId="2142533554"/>
            <ac:spMk id="62" creationId="{B60C231C-DB0C-46B0-AFC9-3473A1E6FBAE}"/>
          </ac:spMkLst>
        </pc:spChg>
        <pc:spChg chg="mod">
          <ac:chgData name="Roumpis, Konstantinos" userId="6c72b8e3-3757-4137-ae4f-83d233c85c4b" providerId="ADAL" clId="{5706A0CD-19A8-4DE4-933D-7D9D720434E9}" dt="2023-10-21T18:50:20.227" v="186"/>
          <ac:spMkLst>
            <pc:docMk/>
            <pc:sldMk cId="2128976128" sldId="2142533554"/>
            <ac:spMk id="64" creationId="{5AF79A5E-81A7-DE60-13F3-4874A1FF2C81}"/>
          </ac:spMkLst>
        </pc:spChg>
        <pc:spChg chg="mod">
          <ac:chgData name="Roumpis, Konstantinos" userId="6c72b8e3-3757-4137-ae4f-83d233c85c4b" providerId="ADAL" clId="{5706A0CD-19A8-4DE4-933D-7D9D720434E9}" dt="2023-10-21T18:50:20.227" v="186"/>
          <ac:spMkLst>
            <pc:docMk/>
            <pc:sldMk cId="2128976128" sldId="2142533554"/>
            <ac:spMk id="65" creationId="{9C029B2E-04E2-0F20-28F2-6DF0A00D8E9B}"/>
          </ac:spMkLst>
        </pc:spChg>
        <pc:spChg chg="mod">
          <ac:chgData name="Roumpis, Konstantinos" userId="6c72b8e3-3757-4137-ae4f-83d233c85c4b" providerId="ADAL" clId="{5706A0CD-19A8-4DE4-933D-7D9D720434E9}" dt="2023-10-21T18:50:20.227" v="186"/>
          <ac:spMkLst>
            <pc:docMk/>
            <pc:sldMk cId="2128976128" sldId="2142533554"/>
            <ac:spMk id="66" creationId="{704B8638-FA68-A0E2-8BFE-E1F281A58B30}"/>
          </ac:spMkLst>
        </pc:spChg>
        <pc:spChg chg="add del mod">
          <ac:chgData name="Roumpis, Konstantinos" userId="6c72b8e3-3757-4137-ae4f-83d233c85c4b" providerId="ADAL" clId="{5706A0CD-19A8-4DE4-933D-7D9D720434E9}" dt="2023-10-21T18:51:19.468" v="206" actId="14100"/>
          <ac:spMkLst>
            <pc:docMk/>
            <pc:sldMk cId="2128976128" sldId="2142533554"/>
            <ac:spMk id="67" creationId="{7A5DE141-C63F-5ECC-88EE-9CACCDC94A37}"/>
          </ac:spMkLst>
        </pc:spChg>
        <pc:spChg chg="del">
          <ac:chgData name="Roumpis, Konstantinos" userId="6c72b8e3-3757-4137-ae4f-83d233c85c4b" providerId="ADAL" clId="{5706A0CD-19A8-4DE4-933D-7D9D720434E9}" dt="2023-10-21T18:50:19.490" v="185" actId="478"/>
          <ac:spMkLst>
            <pc:docMk/>
            <pc:sldMk cId="2128976128" sldId="2142533554"/>
            <ac:spMk id="72" creationId="{54D1C58A-4911-4D05-B4B2-C7676CB270DD}"/>
          </ac:spMkLst>
        </pc:spChg>
        <pc:spChg chg="del">
          <ac:chgData name="Roumpis, Konstantinos" userId="6c72b8e3-3757-4137-ae4f-83d233c85c4b" providerId="ADAL" clId="{5706A0CD-19A8-4DE4-933D-7D9D720434E9}" dt="2023-10-21T18:50:19.490" v="185" actId="478"/>
          <ac:spMkLst>
            <pc:docMk/>
            <pc:sldMk cId="2128976128" sldId="2142533554"/>
            <ac:spMk id="73" creationId="{EFD75BCE-CFB4-4B5A-82C3-EDDE10EAA57F}"/>
          </ac:spMkLst>
        </pc:spChg>
        <pc:spChg chg="del">
          <ac:chgData name="Roumpis, Konstantinos" userId="6c72b8e3-3757-4137-ae4f-83d233c85c4b" providerId="ADAL" clId="{5706A0CD-19A8-4DE4-933D-7D9D720434E9}" dt="2023-10-21T18:50:19.490" v="185" actId="478"/>
          <ac:spMkLst>
            <pc:docMk/>
            <pc:sldMk cId="2128976128" sldId="2142533554"/>
            <ac:spMk id="74" creationId="{2CE07577-C461-442B-9A58-7DF934A5CF1F}"/>
          </ac:spMkLst>
        </pc:spChg>
        <pc:spChg chg="del">
          <ac:chgData name="Roumpis, Konstantinos" userId="6c72b8e3-3757-4137-ae4f-83d233c85c4b" providerId="ADAL" clId="{5706A0CD-19A8-4DE4-933D-7D9D720434E9}" dt="2023-10-21T18:50:19.490" v="185" actId="478"/>
          <ac:spMkLst>
            <pc:docMk/>
            <pc:sldMk cId="2128976128" sldId="2142533554"/>
            <ac:spMk id="75" creationId="{B3B1265D-4CDF-44EF-AD3E-381F20632BCA}"/>
          </ac:spMkLst>
        </pc:spChg>
        <pc:spChg chg="del">
          <ac:chgData name="Roumpis, Konstantinos" userId="6c72b8e3-3757-4137-ae4f-83d233c85c4b" providerId="ADAL" clId="{5706A0CD-19A8-4DE4-933D-7D9D720434E9}" dt="2023-10-21T18:50:19.490" v="185" actId="478"/>
          <ac:spMkLst>
            <pc:docMk/>
            <pc:sldMk cId="2128976128" sldId="2142533554"/>
            <ac:spMk id="76" creationId="{84D25101-A5D6-45A3-B344-CD1E1CA334C9}"/>
          </ac:spMkLst>
        </pc:spChg>
        <pc:spChg chg="del">
          <ac:chgData name="Roumpis, Konstantinos" userId="6c72b8e3-3757-4137-ae4f-83d233c85c4b" providerId="ADAL" clId="{5706A0CD-19A8-4DE4-933D-7D9D720434E9}" dt="2023-10-21T18:50:19.490" v="185" actId="478"/>
          <ac:spMkLst>
            <pc:docMk/>
            <pc:sldMk cId="2128976128" sldId="2142533554"/>
            <ac:spMk id="77" creationId="{0496FAB7-6AF4-44D1-BCD2-2D70E5B600B2}"/>
          </ac:spMkLst>
        </pc:spChg>
        <pc:spChg chg="del">
          <ac:chgData name="Roumpis, Konstantinos" userId="6c72b8e3-3757-4137-ae4f-83d233c85c4b" providerId="ADAL" clId="{5706A0CD-19A8-4DE4-933D-7D9D720434E9}" dt="2023-10-21T18:50:19.490" v="185" actId="478"/>
          <ac:spMkLst>
            <pc:docMk/>
            <pc:sldMk cId="2128976128" sldId="2142533554"/>
            <ac:spMk id="78" creationId="{5BD36928-E742-4BF5-A9E8-F9175E8BCDC1}"/>
          </ac:spMkLst>
        </pc:spChg>
        <pc:spChg chg="del">
          <ac:chgData name="Roumpis, Konstantinos" userId="6c72b8e3-3757-4137-ae4f-83d233c85c4b" providerId="ADAL" clId="{5706A0CD-19A8-4DE4-933D-7D9D720434E9}" dt="2023-10-21T18:50:19.490" v="185" actId="478"/>
          <ac:spMkLst>
            <pc:docMk/>
            <pc:sldMk cId="2128976128" sldId="2142533554"/>
            <ac:spMk id="81" creationId="{35A9E9E0-0F2B-4D53-A7A7-3F1B669782E2}"/>
          </ac:spMkLst>
        </pc:spChg>
        <pc:spChg chg="del">
          <ac:chgData name="Roumpis, Konstantinos" userId="6c72b8e3-3757-4137-ae4f-83d233c85c4b" providerId="ADAL" clId="{5706A0CD-19A8-4DE4-933D-7D9D720434E9}" dt="2023-10-21T18:50:19.490" v="185" actId="478"/>
          <ac:spMkLst>
            <pc:docMk/>
            <pc:sldMk cId="2128976128" sldId="2142533554"/>
            <ac:spMk id="82" creationId="{CA2BC5ED-04AA-489A-B600-EC73CE07AD8B}"/>
          </ac:spMkLst>
        </pc:spChg>
        <pc:grpChg chg="del">
          <ac:chgData name="Roumpis, Konstantinos" userId="6c72b8e3-3757-4137-ae4f-83d233c85c4b" providerId="ADAL" clId="{5706A0CD-19A8-4DE4-933D-7D9D720434E9}" dt="2023-10-21T18:50:19.490" v="185" actId="478"/>
          <ac:grpSpMkLst>
            <pc:docMk/>
            <pc:sldMk cId="2128976128" sldId="2142533554"/>
            <ac:grpSpMk id="2" creationId="{698DAA73-7849-4E24-9F21-BF5FEAEA1B73}"/>
          </ac:grpSpMkLst>
        </pc:grpChg>
        <pc:grpChg chg="add mod">
          <ac:chgData name="Roumpis, Konstantinos" userId="6c72b8e3-3757-4137-ae4f-83d233c85c4b" providerId="ADAL" clId="{5706A0CD-19A8-4DE4-933D-7D9D720434E9}" dt="2023-10-21T18:50:20.227" v="186"/>
          <ac:grpSpMkLst>
            <pc:docMk/>
            <pc:sldMk cId="2128976128" sldId="2142533554"/>
            <ac:grpSpMk id="12" creationId="{D3BEE1B4-E56E-99E4-A945-E2F2A5E5B7DF}"/>
          </ac:grpSpMkLst>
        </pc:grpChg>
        <pc:grpChg chg="add mod">
          <ac:chgData name="Roumpis, Konstantinos" userId="6c72b8e3-3757-4137-ae4f-83d233c85c4b" providerId="ADAL" clId="{5706A0CD-19A8-4DE4-933D-7D9D720434E9}" dt="2023-10-21T18:50:20.227" v="186"/>
          <ac:grpSpMkLst>
            <pc:docMk/>
            <pc:sldMk cId="2128976128" sldId="2142533554"/>
            <ac:grpSpMk id="26" creationId="{BEF8C6C7-1D2D-9966-CAEE-5ACD1946B6FF}"/>
          </ac:grpSpMkLst>
        </pc:grpChg>
        <pc:grpChg chg="del">
          <ac:chgData name="Roumpis, Konstantinos" userId="6c72b8e3-3757-4137-ae4f-83d233c85c4b" providerId="ADAL" clId="{5706A0CD-19A8-4DE4-933D-7D9D720434E9}" dt="2023-10-21T18:50:19.490" v="185" actId="478"/>
          <ac:grpSpMkLst>
            <pc:docMk/>
            <pc:sldMk cId="2128976128" sldId="2142533554"/>
            <ac:grpSpMk id="39" creationId="{6D49847D-B9FD-4317-8A7C-46D373990EAC}"/>
          </ac:grpSpMkLst>
        </pc:grpChg>
        <pc:grpChg chg="add mod">
          <ac:chgData name="Roumpis, Konstantinos" userId="6c72b8e3-3757-4137-ae4f-83d233c85c4b" providerId="ADAL" clId="{5706A0CD-19A8-4DE4-933D-7D9D720434E9}" dt="2023-10-21T18:50:20.227" v="186"/>
          <ac:grpSpMkLst>
            <pc:docMk/>
            <pc:sldMk cId="2128976128" sldId="2142533554"/>
            <ac:grpSpMk id="47" creationId="{D83DF148-4F43-D9C2-C89F-C2B3960B6CB8}"/>
          </ac:grpSpMkLst>
        </pc:grpChg>
        <pc:grpChg chg="add mod">
          <ac:chgData name="Roumpis, Konstantinos" userId="6c72b8e3-3757-4137-ae4f-83d233c85c4b" providerId="ADAL" clId="{5706A0CD-19A8-4DE4-933D-7D9D720434E9}" dt="2023-10-21T18:50:20.227" v="186"/>
          <ac:grpSpMkLst>
            <pc:docMk/>
            <pc:sldMk cId="2128976128" sldId="2142533554"/>
            <ac:grpSpMk id="63" creationId="{2EBDA6BE-27E6-149F-D52C-D2CBAAF884A8}"/>
          </ac:grpSpMkLst>
        </pc:grpChg>
        <pc:picChg chg="add mod">
          <ac:chgData name="Roumpis, Konstantinos" userId="6c72b8e3-3757-4137-ae4f-83d233c85c4b" providerId="ADAL" clId="{5706A0CD-19A8-4DE4-933D-7D9D720434E9}" dt="2023-10-21T18:50:20.227" v="186"/>
          <ac:picMkLst>
            <pc:docMk/>
            <pc:sldMk cId="2128976128" sldId="2142533554"/>
            <ac:picMk id="7" creationId="{5DB1C9F9-6923-1EC4-1BF5-7E4A3D31F819}"/>
          </ac:picMkLst>
        </pc:picChg>
        <pc:picChg chg="add mod">
          <ac:chgData name="Roumpis, Konstantinos" userId="6c72b8e3-3757-4137-ae4f-83d233c85c4b" providerId="ADAL" clId="{5706A0CD-19A8-4DE4-933D-7D9D720434E9}" dt="2023-10-21T18:50:20.227" v="186"/>
          <ac:picMkLst>
            <pc:docMk/>
            <pc:sldMk cId="2128976128" sldId="2142533554"/>
            <ac:picMk id="8" creationId="{0D27CD6F-02EC-3A32-5461-27831D072F0B}"/>
          </ac:picMkLst>
        </pc:picChg>
        <pc:picChg chg="add mod">
          <ac:chgData name="Roumpis, Konstantinos" userId="6c72b8e3-3757-4137-ae4f-83d233c85c4b" providerId="ADAL" clId="{5706A0CD-19A8-4DE4-933D-7D9D720434E9}" dt="2023-10-21T18:50:20.227" v="186"/>
          <ac:picMkLst>
            <pc:docMk/>
            <pc:sldMk cId="2128976128" sldId="2142533554"/>
            <ac:picMk id="18" creationId="{1AF64016-8729-1ED3-39FD-5CCCA08C9774}"/>
          </ac:picMkLst>
        </pc:picChg>
        <pc:picChg chg="add mod">
          <ac:chgData name="Roumpis, Konstantinos" userId="6c72b8e3-3757-4137-ae4f-83d233c85c4b" providerId="ADAL" clId="{5706A0CD-19A8-4DE4-933D-7D9D720434E9}" dt="2023-10-21T18:50:20.227" v="186"/>
          <ac:picMkLst>
            <pc:docMk/>
            <pc:sldMk cId="2128976128" sldId="2142533554"/>
            <ac:picMk id="19" creationId="{E7716FB4-D504-6621-EA57-B394F6119FA9}"/>
          </ac:picMkLst>
        </pc:picChg>
        <pc:picChg chg="add mod">
          <ac:chgData name="Roumpis, Konstantinos" userId="6c72b8e3-3757-4137-ae4f-83d233c85c4b" providerId="ADAL" clId="{5706A0CD-19A8-4DE4-933D-7D9D720434E9}" dt="2023-10-21T18:50:20.227" v="186"/>
          <ac:picMkLst>
            <pc:docMk/>
            <pc:sldMk cId="2128976128" sldId="2142533554"/>
            <ac:picMk id="22" creationId="{CF1FA3A0-2240-1481-26F4-B0DEBF6C6CEB}"/>
          </ac:picMkLst>
        </pc:picChg>
        <pc:cxnChg chg="add mod">
          <ac:chgData name="Roumpis, Konstantinos" userId="6c72b8e3-3757-4137-ae4f-83d233c85c4b" providerId="ADAL" clId="{5706A0CD-19A8-4DE4-933D-7D9D720434E9}" dt="2023-10-21T18:50:20.227" v="186"/>
          <ac:cxnSpMkLst>
            <pc:docMk/>
            <pc:sldMk cId="2128976128" sldId="2142533554"/>
            <ac:cxnSpMk id="16" creationId="{6BC5381B-E227-3946-7838-DB94235C824E}"/>
          </ac:cxnSpMkLst>
        </pc:cxnChg>
        <pc:cxnChg chg="add mod">
          <ac:chgData name="Roumpis, Konstantinos" userId="6c72b8e3-3757-4137-ae4f-83d233c85c4b" providerId="ADAL" clId="{5706A0CD-19A8-4DE4-933D-7D9D720434E9}" dt="2023-10-21T18:50:20.227" v="186"/>
          <ac:cxnSpMkLst>
            <pc:docMk/>
            <pc:sldMk cId="2128976128" sldId="2142533554"/>
            <ac:cxnSpMk id="17" creationId="{EE1149B8-EF2D-6123-09ED-EC5218DC4FAC}"/>
          </ac:cxnSpMkLst>
        </pc:cxnChg>
        <pc:cxnChg chg="add mod">
          <ac:chgData name="Roumpis, Konstantinos" userId="6c72b8e3-3757-4137-ae4f-83d233c85c4b" providerId="ADAL" clId="{5706A0CD-19A8-4DE4-933D-7D9D720434E9}" dt="2023-10-21T18:50:20.227" v="186"/>
          <ac:cxnSpMkLst>
            <pc:docMk/>
            <pc:sldMk cId="2128976128" sldId="2142533554"/>
            <ac:cxnSpMk id="20" creationId="{7749F4DF-2A9F-2F70-AA90-A8AB75D7AEBD}"/>
          </ac:cxnSpMkLst>
        </pc:cxnChg>
        <pc:cxnChg chg="add mod">
          <ac:chgData name="Roumpis, Konstantinos" userId="6c72b8e3-3757-4137-ae4f-83d233c85c4b" providerId="ADAL" clId="{5706A0CD-19A8-4DE4-933D-7D9D720434E9}" dt="2023-10-21T18:50:20.227" v="186"/>
          <ac:cxnSpMkLst>
            <pc:docMk/>
            <pc:sldMk cId="2128976128" sldId="2142533554"/>
            <ac:cxnSpMk id="23" creationId="{45F07677-5F7F-2D47-3F8B-D53798293BD0}"/>
          </ac:cxnSpMkLst>
        </pc:cxnChg>
        <pc:cxnChg chg="add mod">
          <ac:chgData name="Roumpis, Konstantinos" userId="6c72b8e3-3757-4137-ae4f-83d233c85c4b" providerId="ADAL" clId="{5706A0CD-19A8-4DE4-933D-7D9D720434E9}" dt="2023-10-21T18:50:20.227" v="186"/>
          <ac:cxnSpMkLst>
            <pc:docMk/>
            <pc:sldMk cId="2128976128" sldId="2142533554"/>
            <ac:cxnSpMk id="25" creationId="{4E877DB3-01D7-4629-F61A-8B5A153AA1F1}"/>
          </ac:cxnSpMkLst>
        </pc:cxnChg>
        <pc:cxnChg chg="add mod">
          <ac:chgData name="Roumpis, Konstantinos" userId="6c72b8e3-3757-4137-ae4f-83d233c85c4b" providerId="ADAL" clId="{5706A0CD-19A8-4DE4-933D-7D9D720434E9}" dt="2023-10-21T18:50:20.227" v="186"/>
          <ac:cxnSpMkLst>
            <pc:docMk/>
            <pc:sldMk cId="2128976128" sldId="2142533554"/>
            <ac:cxnSpMk id="30" creationId="{B054405F-E1D0-71A1-2245-9D7FF5929658}"/>
          </ac:cxnSpMkLst>
        </pc:cxnChg>
        <pc:cxnChg chg="add mod">
          <ac:chgData name="Roumpis, Konstantinos" userId="6c72b8e3-3757-4137-ae4f-83d233c85c4b" providerId="ADAL" clId="{5706A0CD-19A8-4DE4-933D-7D9D720434E9}" dt="2023-10-21T18:50:20.227" v="186"/>
          <ac:cxnSpMkLst>
            <pc:docMk/>
            <pc:sldMk cId="2128976128" sldId="2142533554"/>
            <ac:cxnSpMk id="31" creationId="{9E6FA7C6-C3F1-EA61-D5CA-5C1EEFB36C06}"/>
          </ac:cxnSpMkLst>
        </pc:cxnChg>
        <pc:cxnChg chg="add mod">
          <ac:chgData name="Roumpis, Konstantinos" userId="6c72b8e3-3757-4137-ae4f-83d233c85c4b" providerId="ADAL" clId="{5706A0CD-19A8-4DE4-933D-7D9D720434E9}" dt="2023-10-21T18:50:20.227" v="186"/>
          <ac:cxnSpMkLst>
            <pc:docMk/>
            <pc:sldMk cId="2128976128" sldId="2142533554"/>
            <ac:cxnSpMk id="33" creationId="{A19B6010-3DB0-759E-1E56-DEBB836484A9}"/>
          </ac:cxnSpMkLst>
        </pc:cxnChg>
        <pc:cxnChg chg="add mod">
          <ac:chgData name="Roumpis, Konstantinos" userId="6c72b8e3-3757-4137-ae4f-83d233c85c4b" providerId="ADAL" clId="{5706A0CD-19A8-4DE4-933D-7D9D720434E9}" dt="2023-10-21T18:50:20.227" v="186"/>
          <ac:cxnSpMkLst>
            <pc:docMk/>
            <pc:sldMk cId="2128976128" sldId="2142533554"/>
            <ac:cxnSpMk id="35" creationId="{F61CE7E0-BA10-1521-9E2B-657F6C1AD926}"/>
          </ac:cxnSpMkLst>
        </pc:cxnChg>
        <pc:cxnChg chg="del mod">
          <ac:chgData name="Roumpis, Konstantinos" userId="6c72b8e3-3757-4137-ae4f-83d233c85c4b" providerId="ADAL" clId="{5706A0CD-19A8-4DE4-933D-7D9D720434E9}" dt="2023-10-21T18:50:19.490" v="185" actId="478"/>
          <ac:cxnSpMkLst>
            <pc:docMk/>
            <pc:sldMk cId="2128976128" sldId="2142533554"/>
            <ac:cxnSpMk id="43" creationId="{7C8232B3-B5B2-4C24-A5B7-A731744C6A81}"/>
          </ac:cxnSpMkLst>
        </pc:cxnChg>
        <pc:cxnChg chg="del mod">
          <ac:chgData name="Roumpis, Konstantinos" userId="6c72b8e3-3757-4137-ae4f-83d233c85c4b" providerId="ADAL" clId="{5706A0CD-19A8-4DE4-933D-7D9D720434E9}" dt="2023-10-21T18:50:19.490" v="185" actId="478"/>
          <ac:cxnSpMkLst>
            <pc:docMk/>
            <pc:sldMk cId="2128976128" sldId="2142533554"/>
            <ac:cxnSpMk id="45" creationId="{C6779EEE-72ED-4FA2-B90D-4637BBB17085}"/>
          </ac:cxnSpMkLst>
        </pc:cxnChg>
        <pc:cxnChg chg="add mod">
          <ac:chgData name="Roumpis, Konstantinos" userId="6c72b8e3-3757-4137-ae4f-83d233c85c4b" providerId="ADAL" clId="{5706A0CD-19A8-4DE4-933D-7D9D720434E9}" dt="2023-10-21T18:50:20.227" v="186"/>
          <ac:cxnSpMkLst>
            <pc:docMk/>
            <pc:sldMk cId="2128976128" sldId="2142533554"/>
            <ac:cxnSpMk id="59" creationId="{9FCE4C5A-0618-0879-C29F-28693D3A3E84}"/>
          </ac:cxnSpMkLst>
        </pc:cxnChg>
      </pc:sldChg>
      <pc:sldChg chg="del">
        <pc:chgData name="Roumpis, Konstantinos" userId="6c72b8e3-3757-4137-ae4f-83d233c85c4b" providerId="ADAL" clId="{5706A0CD-19A8-4DE4-933D-7D9D720434E9}" dt="2023-10-21T18:51:31.670" v="208" actId="47"/>
        <pc:sldMkLst>
          <pc:docMk/>
          <pc:sldMk cId="1122446457" sldId="2142533555"/>
        </pc:sldMkLst>
      </pc:sldChg>
      <pc:sldChg chg="delSp modSp del mod">
        <pc:chgData name="Roumpis, Konstantinos" userId="6c72b8e3-3757-4137-ae4f-83d233c85c4b" providerId="ADAL" clId="{5706A0CD-19A8-4DE4-933D-7D9D720434E9}" dt="2023-10-21T18:59:48.392" v="773" actId="47"/>
        <pc:sldMkLst>
          <pc:docMk/>
          <pc:sldMk cId="1229980678" sldId="2142533556"/>
        </pc:sldMkLst>
        <pc:spChg chg="del">
          <ac:chgData name="Roumpis, Konstantinos" userId="6c72b8e3-3757-4137-ae4f-83d233c85c4b" providerId="ADAL" clId="{5706A0CD-19A8-4DE4-933D-7D9D720434E9}" dt="2023-10-21T18:53:19.460" v="235" actId="478"/>
          <ac:spMkLst>
            <pc:docMk/>
            <pc:sldMk cId="1229980678" sldId="2142533556"/>
            <ac:spMk id="42" creationId="{D6A4D889-789B-4A60-AA0C-CBF6554373F9}"/>
          </ac:spMkLst>
        </pc:spChg>
        <pc:spChg chg="del">
          <ac:chgData name="Roumpis, Konstantinos" userId="6c72b8e3-3757-4137-ae4f-83d233c85c4b" providerId="ADAL" clId="{5706A0CD-19A8-4DE4-933D-7D9D720434E9}" dt="2023-10-21T18:53:19.460" v="235" actId="478"/>
          <ac:spMkLst>
            <pc:docMk/>
            <pc:sldMk cId="1229980678" sldId="2142533556"/>
            <ac:spMk id="44" creationId="{BA1C5B51-354C-4D9F-AB6A-5F9E287C10CE}"/>
          </ac:spMkLst>
        </pc:spChg>
        <pc:grpChg chg="del">
          <ac:chgData name="Roumpis, Konstantinos" userId="6c72b8e3-3757-4137-ae4f-83d233c85c4b" providerId="ADAL" clId="{5706A0CD-19A8-4DE4-933D-7D9D720434E9}" dt="2023-10-21T18:53:19.460" v="235" actId="478"/>
          <ac:grpSpMkLst>
            <pc:docMk/>
            <pc:sldMk cId="1229980678" sldId="2142533556"/>
            <ac:grpSpMk id="39" creationId="{6D49847D-B9FD-4317-8A7C-46D373990EAC}"/>
          </ac:grpSpMkLst>
        </pc:grpChg>
        <pc:cxnChg chg="del mod">
          <ac:chgData name="Roumpis, Konstantinos" userId="6c72b8e3-3757-4137-ae4f-83d233c85c4b" providerId="ADAL" clId="{5706A0CD-19A8-4DE4-933D-7D9D720434E9}" dt="2023-10-21T18:53:19.460" v="235" actId="478"/>
          <ac:cxnSpMkLst>
            <pc:docMk/>
            <pc:sldMk cId="1229980678" sldId="2142533556"/>
            <ac:cxnSpMk id="43" creationId="{7C8232B3-B5B2-4C24-A5B7-A731744C6A81}"/>
          </ac:cxnSpMkLst>
        </pc:cxnChg>
        <pc:cxnChg chg="del mod">
          <ac:chgData name="Roumpis, Konstantinos" userId="6c72b8e3-3757-4137-ae4f-83d233c85c4b" providerId="ADAL" clId="{5706A0CD-19A8-4DE4-933D-7D9D720434E9}" dt="2023-10-21T18:53:19.460" v="235" actId="478"/>
          <ac:cxnSpMkLst>
            <pc:docMk/>
            <pc:sldMk cId="1229980678" sldId="2142533556"/>
            <ac:cxnSpMk id="45" creationId="{C6779EEE-72ED-4FA2-B90D-4637BBB17085}"/>
          </ac:cxnSpMkLst>
        </pc:cxnChg>
      </pc:sldChg>
      <pc:sldChg chg="del">
        <pc:chgData name="Roumpis, Konstantinos" userId="6c72b8e3-3757-4137-ae4f-83d233c85c4b" providerId="ADAL" clId="{5706A0CD-19A8-4DE4-933D-7D9D720434E9}" dt="2023-10-21T18:59:47.091" v="772" actId="47"/>
        <pc:sldMkLst>
          <pc:docMk/>
          <pc:sldMk cId="2299710569" sldId="2142533557"/>
        </pc:sldMkLst>
      </pc:sldChg>
      <pc:sldChg chg="addSp delSp modSp mod ord">
        <pc:chgData name="Roumpis, Konstantinos" userId="6c72b8e3-3757-4137-ae4f-83d233c85c4b" providerId="ADAL" clId="{5706A0CD-19A8-4DE4-933D-7D9D720434E9}" dt="2023-10-21T18:57:25.904" v="645"/>
        <pc:sldMkLst>
          <pc:docMk/>
          <pc:sldMk cId="2414799982" sldId="2142533559"/>
        </pc:sldMkLst>
        <pc:spChg chg="add mod">
          <ac:chgData name="Roumpis, Konstantinos" userId="6c72b8e3-3757-4137-ae4f-83d233c85c4b" providerId="ADAL" clId="{5706A0CD-19A8-4DE4-933D-7D9D720434E9}" dt="2023-10-21T18:57:22.882" v="643"/>
          <ac:spMkLst>
            <pc:docMk/>
            <pc:sldMk cId="2414799982" sldId="2142533559"/>
            <ac:spMk id="2" creationId="{F0D96C4C-1702-A667-AFF8-0AEC03293B0F}"/>
          </ac:spMkLst>
        </pc:spChg>
        <pc:spChg chg="add mod">
          <ac:chgData name="Roumpis, Konstantinos" userId="6c72b8e3-3757-4137-ae4f-83d233c85c4b" providerId="ADAL" clId="{5706A0CD-19A8-4DE4-933D-7D9D720434E9}" dt="2023-10-21T18:57:22.882" v="643"/>
          <ac:spMkLst>
            <pc:docMk/>
            <pc:sldMk cId="2414799982" sldId="2142533559"/>
            <ac:spMk id="3" creationId="{02EFCDC5-CC81-4D57-A954-0F49D123F8FC}"/>
          </ac:spMkLst>
        </pc:spChg>
        <pc:spChg chg="add mod">
          <ac:chgData name="Roumpis, Konstantinos" userId="6c72b8e3-3757-4137-ae4f-83d233c85c4b" providerId="ADAL" clId="{5706A0CD-19A8-4DE4-933D-7D9D720434E9}" dt="2023-10-21T18:57:22.882" v="643"/>
          <ac:spMkLst>
            <pc:docMk/>
            <pc:sldMk cId="2414799982" sldId="2142533559"/>
            <ac:spMk id="4" creationId="{354BA42A-ACD9-BDFB-FA75-D4A1777FFC8F}"/>
          </ac:spMkLst>
        </pc:spChg>
        <pc:spChg chg="mod">
          <ac:chgData name="Roumpis, Konstantinos" userId="6c72b8e3-3757-4137-ae4f-83d233c85c4b" providerId="ADAL" clId="{5706A0CD-19A8-4DE4-933D-7D9D720434E9}" dt="2023-10-21T18:57:22.882" v="643"/>
          <ac:spMkLst>
            <pc:docMk/>
            <pc:sldMk cId="2414799982" sldId="2142533559"/>
            <ac:spMk id="6" creationId="{F791E583-598E-7B4B-49D8-4094AD7807A4}"/>
          </ac:spMkLst>
        </pc:spChg>
        <pc:spChg chg="mod">
          <ac:chgData name="Roumpis, Konstantinos" userId="6c72b8e3-3757-4137-ae4f-83d233c85c4b" providerId="ADAL" clId="{5706A0CD-19A8-4DE4-933D-7D9D720434E9}" dt="2023-10-21T18:57:22.882" v="643"/>
          <ac:spMkLst>
            <pc:docMk/>
            <pc:sldMk cId="2414799982" sldId="2142533559"/>
            <ac:spMk id="7" creationId="{87064296-A614-CC0A-4C43-ACB4EC878620}"/>
          </ac:spMkLst>
        </pc:spChg>
        <pc:spChg chg="mod">
          <ac:chgData name="Roumpis, Konstantinos" userId="6c72b8e3-3757-4137-ae4f-83d233c85c4b" providerId="ADAL" clId="{5706A0CD-19A8-4DE4-933D-7D9D720434E9}" dt="2023-10-21T18:57:22.882" v="643"/>
          <ac:spMkLst>
            <pc:docMk/>
            <pc:sldMk cId="2414799982" sldId="2142533559"/>
            <ac:spMk id="8" creationId="{D3DB9B7D-7EC1-D406-7CB1-6629FE21921A}"/>
          </ac:spMkLst>
        </pc:spChg>
        <pc:spChg chg="add mod">
          <ac:chgData name="Roumpis, Konstantinos" userId="6c72b8e3-3757-4137-ae4f-83d233c85c4b" providerId="ADAL" clId="{5706A0CD-19A8-4DE4-933D-7D9D720434E9}" dt="2023-10-21T18:57:22.882" v="643"/>
          <ac:spMkLst>
            <pc:docMk/>
            <pc:sldMk cId="2414799982" sldId="2142533559"/>
            <ac:spMk id="9" creationId="{26A6D70B-E886-08B2-B125-8BA6B69A0781}"/>
          </ac:spMkLst>
        </pc:spChg>
        <pc:spChg chg="add mod">
          <ac:chgData name="Roumpis, Konstantinos" userId="6c72b8e3-3757-4137-ae4f-83d233c85c4b" providerId="ADAL" clId="{5706A0CD-19A8-4DE4-933D-7D9D720434E9}" dt="2023-10-21T18:57:22.882" v="643"/>
          <ac:spMkLst>
            <pc:docMk/>
            <pc:sldMk cId="2414799982" sldId="2142533559"/>
            <ac:spMk id="12" creationId="{990D996F-0AED-C83B-405B-8137082D9E99}"/>
          </ac:spMkLst>
        </pc:spChg>
        <pc:spChg chg="add mod">
          <ac:chgData name="Roumpis, Konstantinos" userId="6c72b8e3-3757-4137-ae4f-83d233c85c4b" providerId="ADAL" clId="{5706A0CD-19A8-4DE4-933D-7D9D720434E9}" dt="2023-10-21T18:57:22.882" v="643"/>
          <ac:spMkLst>
            <pc:docMk/>
            <pc:sldMk cId="2414799982" sldId="2142533559"/>
            <ac:spMk id="13" creationId="{AAB797D2-8714-4400-3B38-7361650AB62C}"/>
          </ac:spMkLst>
        </pc:spChg>
        <pc:spChg chg="add mod">
          <ac:chgData name="Roumpis, Konstantinos" userId="6c72b8e3-3757-4137-ae4f-83d233c85c4b" providerId="ADAL" clId="{5706A0CD-19A8-4DE4-933D-7D9D720434E9}" dt="2023-10-21T18:57:22.882" v="643"/>
          <ac:spMkLst>
            <pc:docMk/>
            <pc:sldMk cId="2414799982" sldId="2142533559"/>
            <ac:spMk id="14" creationId="{7B49C0F2-7AAA-47C2-0115-41CFCDE85EF8}"/>
          </ac:spMkLst>
        </pc:spChg>
        <pc:spChg chg="add mod">
          <ac:chgData name="Roumpis, Konstantinos" userId="6c72b8e3-3757-4137-ae4f-83d233c85c4b" providerId="ADAL" clId="{5706A0CD-19A8-4DE4-933D-7D9D720434E9}" dt="2023-10-21T18:57:22.882" v="643"/>
          <ac:spMkLst>
            <pc:docMk/>
            <pc:sldMk cId="2414799982" sldId="2142533559"/>
            <ac:spMk id="15" creationId="{D390601A-1764-467D-8E50-7E12DFBD4509}"/>
          </ac:spMkLst>
        </pc:spChg>
        <pc:spChg chg="add mod">
          <ac:chgData name="Roumpis, Konstantinos" userId="6c72b8e3-3757-4137-ae4f-83d233c85c4b" providerId="ADAL" clId="{5706A0CD-19A8-4DE4-933D-7D9D720434E9}" dt="2023-10-21T18:57:22.882" v="643"/>
          <ac:spMkLst>
            <pc:docMk/>
            <pc:sldMk cId="2414799982" sldId="2142533559"/>
            <ac:spMk id="16" creationId="{C2FF7E48-7611-65FE-5127-DEA7406354B3}"/>
          </ac:spMkLst>
        </pc:spChg>
        <pc:spChg chg="add mod">
          <ac:chgData name="Roumpis, Konstantinos" userId="6c72b8e3-3757-4137-ae4f-83d233c85c4b" providerId="ADAL" clId="{5706A0CD-19A8-4DE4-933D-7D9D720434E9}" dt="2023-10-21T18:57:22.882" v="643"/>
          <ac:spMkLst>
            <pc:docMk/>
            <pc:sldMk cId="2414799982" sldId="2142533559"/>
            <ac:spMk id="18" creationId="{2B11E492-D0F9-9173-11F3-5377BABFD455}"/>
          </ac:spMkLst>
        </pc:spChg>
        <pc:spChg chg="del">
          <ac:chgData name="Roumpis, Konstantinos" userId="6c72b8e3-3757-4137-ae4f-83d233c85c4b" providerId="ADAL" clId="{5706A0CD-19A8-4DE4-933D-7D9D720434E9}" dt="2023-10-21T18:57:19.618" v="641" actId="478"/>
          <ac:spMkLst>
            <pc:docMk/>
            <pc:sldMk cId="2414799982" sldId="2142533559"/>
            <ac:spMk id="36" creationId="{2BBA9507-A151-4B48-95C6-DA6C0C80C36D}"/>
          </ac:spMkLst>
        </pc:spChg>
        <pc:spChg chg="del">
          <ac:chgData name="Roumpis, Konstantinos" userId="6c72b8e3-3757-4137-ae4f-83d233c85c4b" providerId="ADAL" clId="{5706A0CD-19A8-4DE4-933D-7D9D720434E9}" dt="2023-10-21T18:57:19.618" v="641" actId="478"/>
          <ac:spMkLst>
            <pc:docMk/>
            <pc:sldMk cId="2414799982" sldId="2142533559"/>
            <ac:spMk id="43" creationId="{CD1B2EE1-97E3-4724-B3F2-28C3745CEBAA}"/>
          </ac:spMkLst>
        </pc:spChg>
        <pc:spChg chg="del">
          <ac:chgData name="Roumpis, Konstantinos" userId="6c72b8e3-3757-4137-ae4f-83d233c85c4b" providerId="ADAL" clId="{5706A0CD-19A8-4DE4-933D-7D9D720434E9}" dt="2023-10-21T18:57:19.618" v="641" actId="478"/>
          <ac:spMkLst>
            <pc:docMk/>
            <pc:sldMk cId="2414799982" sldId="2142533559"/>
            <ac:spMk id="44" creationId="{4E540DF5-B3C8-4232-8194-9B598ECCCE94}"/>
          </ac:spMkLst>
        </pc:spChg>
        <pc:spChg chg="del">
          <ac:chgData name="Roumpis, Konstantinos" userId="6c72b8e3-3757-4137-ae4f-83d233c85c4b" providerId="ADAL" clId="{5706A0CD-19A8-4DE4-933D-7D9D720434E9}" dt="2023-10-21T18:57:19.618" v="641" actId="478"/>
          <ac:spMkLst>
            <pc:docMk/>
            <pc:sldMk cId="2414799982" sldId="2142533559"/>
            <ac:spMk id="45" creationId="{AB8CADA3-9507-48DA-8E95-E8B7D4CBF751}"/>
          </ac:spMkLst>
        </pc:spChg>
        <pc:spChg chg="del">
          <ac:chgData name="Roumpis, Konstantinos" userId="6c72b8e3-3757-4137-ae4f-83d233c85c4b" providerId="ADAL" clId="{5706A0CD-19A8-4DE4-933D-7D9D720434E9}" dt="2023-10-21T18:57:19.618" v="641" actId="478"/>
          <ac:spMkLst>
            <pc:docMk/>
            <pc:sldMk cId="2414799982" sldId="2142533559"/>
            <ac:spMk id="46" creationId="{E097FAFC-E9A9-4569-8C85-EC6047D4ADA9}"/>
          </ac:spMkLst>
        </pc:spChg>
        <pc:spChg chg="del">
          <ac:chgData name="Roumpis, Konstantinos" userId="6c72b8e3-3757-4137-ae4f-83d233c85c4b" providerId="ADAL" clId="{5706A0CD-19A8-4DE4-933D-7D9D720434E9}" dt="2023-10-21T18:57:19.618" v="641" actId="478"/>
          <ac:spMkLst>
            <pc:docMk/>
            <pc:sldMk cId="2414799982" sldId="2142533559"/>
            <ac:spMk id="47" creationId="{EE106831-BCF3-4F90-98F6-5252A4B034EB}"/>
          </ac:spMkLst>
        </pc:spChg>
        <pc:spChg chg="del">
          <ac:chgData name="Roumpis, Konstantinos" userId="6c72b8e3-3757-4137-ae4f-83d233c85c4b" providerId="ADAL" clId="{5706A0CD-19A8-4DE4-933D-7D9D720434E9}" dt="2023-10-21T18:57:19.618" v="641" actId="478"/>
          <ac:spMkLst>
            <pc:docMk/>
            <pc:sldMk cId="2414799982" sldId="2142533559"/>
            <ac:spMk id="48" creationId="{590B2ED4-58CA-415D-B0B8-CD1F5950B79F}"/>
          </ac:spMkLst>
        </pc:spChg>
        <pc:spChg chg="del">
          <ac:chgData name="Roumpis, Konstantinos" userId="6c72b8e3-3757-4137-ae4f-83d233c85c4b" providerId="ADAL" clId="{5706A0CD-19A8-4DE4-933D-7D9D720434E9}" dt="2023-10-21T18:57:19.618" v="641" actId="478"/>
          <ac:spMkLst>
            <pc:docMk/>
            <pc:sldMk cId="2414799982" sldId="2142533559"/>
            <ac:spMk id="49" creationId="{E23F6518-BE15-4538-AB7E-EEBDFB9A34AB}"/>
          </ac:spMkLst>
        </pc:spChg>
        <pc:spChg chg="del">
          <ac:chgData name="Roumpis, Konstantinos" userId="6c72b8e3-3757-4137-ae4f-83d233c85c4b" providerId="ADAL" clId="{5706A0CD-19A8-4DE4-933D-7D9D720434E9}" dt="2023-10-21T18:57:22.162" v="642" actId="478"/>
          <ac:spMkLst>
            <pc:docMk/>
            <pc:sldMk cId="2414799982" sldId="2142533559"/>
            <ac:spMk id="50" creationId="{8ACBD450-F9BD-4D30-B6C1-B222A5DD6B76}"/>
          </ac:spMkLst>
        </pc:spChg>
        <pc:grpChg chg="add mod">
          <ac:chgData name="Roumpis, Konstantinos" userId="6c72b8e3-3757-4137-ae4f-83d233c85c4b" providerId="ADAL" clId="{5706A0CD-19A8-4DE4-933D-7D9D720434E9}" dt="2023-10-21T18:57:22.882" v="643"/>
          <ac:grpSpMkLst>
            <pc:docMk/>
            <pc:sldMk cId="2414799982" sldId="2142533559"/>
            <ac:grpSpMk id="5" creationId="{BB73EACE-4741-941C-6823-E54607A16DF3}"/>
          </ac:grpSpMkLst>
        </pc:grpChg>
        <pc:picChg chg="add mod">
          <ac:chgData name="Roumpis, Konstantinos" userId="6c72b8e3-3757-4137-ae4f-83d233c85c4b" providerId="ADAL" clId="{5706A0CD-19A8-4DE4-933D-7D9D720434E9}" dt="2023-10-21T18:57:22.882" v="643"/>
          <ac:picMkLst>
            <pc:docMk/>
            <pc:sldMk cId="2414799982" sldId="2142533559"/>
            <ac:picMk id="10" creationId="{19FC7F11-128C-8F72-028A-202E9BFEAA60}"/>
          </ac:picMkLst>
        </pc:picChg>
        <pc:picChg chg="add mod">
          <ac:chgData name="Roumpis, Konstantinos" userId="6c72b8e3-3757-4137-ae4f-83d233c85c4b" providerId="ADAL" clId="{5706A0CD-19A8-4DE4-933D-7D9D720434E9}" dt="2023-10-21T18:57:22.882" v="643"/>
          <ac:picMkLst>
            <pc:docMk/>
            <pc:sldMk cId="2414799982" sldId="2142533559"/>
            <ac:picMk id="11" creationId="{A1096837-AF09-3809-6844-6F176A568B8E}"/>
          </ac:picMkLst>
        </pc:picChg>
        <pc:cxnChg chg="add mod">
          <ac:chgData name="Roumpis, Konstantinos" userId="6c72b8e3-3757-4137-ae4f-83d233c85c4b" providerId="ADAL" clId="{5706A0CD-19A8-4DE4-933D-7D9D720434E9}" dt="2023-10-21T18:57:22.882" v="643"/>
          <ac:cxnSpMkLst>
            <pc:docMk/>
            <pc:sldMk cId="2414799982" sldId="2142533559"/>
            <ac:cxnSpMk id="17" creationId="{1D3B925A-63E5-1F85-E67A-4F903D826F00}"/>
          </ac:cxnSpMkLst>
        </pc:cxnChg>
        <pc:cxnChg chg="add mod">
          <ac:chgData name="Roumpis, Konstantinos" userId="6c72b8e3-3757-4137-ae4f-83d233c85c4b" providerId="ADAL" clId="{5706A0CD-19A8-4DE4-933D-7D9D720434E9}" dt="2023-10-21T18:57:22.882" v="643"/>
          <ac:cxnSpMkLst>
            <pc:docMk/>
            <pc:sldMk cId="2414799982" sldId="2142533559"/>
            <ac:cxnSpMk id="19" creationId="{10FDD802-FE17-1E8C-C862-2B24BD7144A2}"/>
          </ac:cxnSpMkLst>
        </pc:cxnChg>
      </pc:sldChg>
      <pc:sldChg chg="addSp delSp modSp mod">
        <pc:chgData name="Roumpis, Konstantinos" userId="6c72b8e3-3757-4137-ae4f-83d233c85c4b" providerId="ADAL" clId="{5706A0CD-19A8-4DE4-933D-7D9D720434E9}" dt="2023-10-21T19:08:45.113" v="1262" actId="1036"/>
        <pc:sldMkLst>
          <pc:docMk/>
          <pc:sldMk cId="2810870879" sldId="2142533560"/>
        </pc:sldMkLst>
        <pc:spChg chg="add del mod">
          <ac:chgData name="Roumpis, Konstantinos" userId="6c72b8e3-3757-4137-ae4f-83d233c85c4b" providerId="ADAL" clId="{5706A0CD-19A8-4DE4-933D-7D9D720434E9}" dt="2023-10-21T19:00:42.975" v="815" actId="478"/>
          <ac:spMkLst>
            <pc:docMk/>
            <pc:sldMk cId="2810870879" sldId="2142533560"/>
            <ac:spMk id="2" creationId="{3A9CF691-1615-D33A-36E0-01DD2DE4A46A}"/>
          </ac:spMkLst>
        </pc:spChg>
        <pc:spChg chg="add del mod">
          <ac:chgData name="Roumpis, Konstantinos" userId="6c72b8e3-3757-4137-ae4f-83d233c85c4b" providerId="ADAL" clId="{5706A0CD-19A8-4DE4-933D-7D9D720434E9}" dt="2023-10-21T19:00:58.343" v="821" actId="478"/>
          <ac:spMkLst>
            <pc:docMk/>
            <pc:sldMk cId="2810870879" sldId="2142533560"/>
            <ac:spMk id="3" creationId="{EEA1356B-C5C8-EE18-E9B4-4E54F20FD630}"/>
          </ac:spMkLst>
        </pc:spChg>
        <pc:spChg chg="add del mod">
          <ac:chgData name="Roumpis, Konstantinos" userId="6c72b8e3-3757-4137-ae4f-83d233c85c4b" providerId="ADAL" clId="{5706A0CD-19A8-4DE4-933D-7D9D720434E9}" dt="2023-10-21T19:00:58.343" v="821" actId="478"/>
          <ac:spMkLst>
            <pc:docMk/>
            <pc:sldMk cId="2810870879" sldId="2142533560"/>
            <ac:spMk id="4" creationId="{B37F3643-05C8-C4B8-34DC-E6650E8DDD3F}"/>
          </ac:spMkLst>
        </pc:spChg>
        <pc:spChg chg="add mod">
          <ac:chgData name="Roumpis, Konstantinos" userId="6c72b8e3-3757-4137-ae4f-83d233c85c4b" providerId="ADAL" clId="{5706A0CD-19A8-4DE4-933D-7D9D720434E9}" dt="2023-10-21T19:00:59.007" v="822"/>
          <ac:spMkLst>
            <pc:docMk/>
            <pc:sldMk cId="2810870879" sldId="2142533560"/>
            <ac:spMk id="5" creationId="{EAD6F9D1-1DC1-A131-D16D-6B5872C855BF}"/>
          </ac:spMkLst>
        </pc:spChg>
        <pc:spChg chg="add mod">
          <ac:chgData name="Roumpis, Konstantinos" userId="6c72b8e3-3757-4137-ae4f-83d233c85c4b" providerId="ADAL" clId="{5706A0CD-19A8-4DE4-933D-7D9D720434E9}" dt="2023-10-21T19:01:43.490" v="824" actId="255"/>
          <ac:spMkLst>
            <pc:docMk/>
            <pc:sldMk cId="2810870879" sldId="2142533560"/>
            <ac:spMk id="6" creationId="{96259DBA-53C1-BB1A-89A2-DD72600505CF}"/>
          </ac:spMkLst>
        </pc:spChg>
        <pc:spChg chg="mod">
          <ac:chgData name="Roumpis, Konstantinos" userId="6c72b8e3-3757-4137-ae4f-83d233c85c4b" providerId="ADAL" clId="{5706A0CD-19A8-4DE4-933D-7D9D720434E9}" dt="2023-10-21T19:07:20.903" v="1178" actId="20577"/>
          <ac:spMkLst>
            <pc:docMk/>
            <pc:sldMk cId="2810870879" sldId="2142533560"/>
            <ac:spMk id="11" creationId="{77CEB125-8B37-D435-CAF1-76A18927F4C7}"/>
          </ac:spMkLst>
        </pc:spChg>
        <pc:spChg chg="mod">
          <ac:chgData name="Roumpis, Konstantinos" userId="6c72b8e3-3757-4137-ae4f-83d233c85c4b" providerId="ADAL" clId="{5706A0CD-19A8-4DE4-933D-7D9D720434E9}" dt="2023-10-21T19:03:00.702" v="825"/>
          <ac:spMkLst>
            <pc:docMk/>
            <pc:sldMk cId="2810870879" sldId="2142533560"/>
            <ac:spMk id="12" creationId="{F53CB75E-7995-AE3A-2CBA-F676963B4739}"/>
          </ac:spMkLst>
        </pc:spChg>
        <pc:spChg chg="mod">
          <ac:chgData name="Roumpis, Konstantinos" userId="6c72b8e3-3757-4137-ae4f-83d233c85c4b" providerId="ADAL" clId="{5706A0CD-19A8-4DE4-933D-7D9D720434E9}" dt="2023-10-21T19:05:17.275" v="1058" actId="20577"/>
          <ac:spMkLst>
            <pc:docMk/>
            <pc:sldMk cId="2810870879" sldId="2142533560"/>
            <ac:spMk id="13" creationId="{26BCF4F2-131D-6504-8B37-3B436D33E4A3}"/>
          </ac:spMkLst>
        </pc:spChg>
        <pc:spChg chg="mod">
          <ac:chgData name="Roumpis, Konstantinos" userId="6c72b8e3-3757-4137-ae4f-83d233c85c4b" providerId="ADAL" clId="{5706A0CD-19A8-4DE4-933D-7D9D720434E9}" dt="2023-10-21T19:03:00.702" v="825"/>
          <ac:spMkLst>
            <pc:docMk/>
            <pc:sldMk cId="2810870879" sldId="2142533560"/>
            <ac:spMk id="14" creationId="{78F98943-F1A9-E221-C931-11AF637123BC}"/>
          </ac:spMkLst>
        </pc:spChg>
        <pc:spChg chg="mod">
          <ac:chgData name="Roumpis, Konstantinos" userId="6c72b8e3-3757-4137-ae4f-83d233c85c4b" providerId="ADAL" clId="{5706A0CD-19A8-4DE4-933D-7D9D720434E9}" dt="2023-10-21T19:03:10.651" v="846" actId="20577"/>
          <ac:spMkLst>
            <pc:docMk/>
            <pc:sldMk cId="2810870879" sldId="2142533560"/>
            <ac:spMk id="15" creationId="{5CB4910D-B9A0-592E-43F5-30E5BF019437}"/>
          </ac:spMkLst>
        </pc:spChg>
        <pc:spChg chg="mod">
          <ac:chgData name="Roumpis, Konstantinos" userId="6c72b8e3-3757-4137-ae4f-83d233c85c4b" providerId="ADAL" clId="{5706A0CD-19A8-4DE4-933D-7D9D720434E9}" dt="2023-10-21T19:05:13.424" v="1053" actId="1036"/>
          <ac:spMkLst>
            <pc:docMk/>
            <pc:sldMk cId="2810870879" sldId="2142533560"/>
            <ac:spMk id="17" creationId="{C1281884-2581-F87B-9618-3E145075D8B4}"/>
          </ac:spMkLst>
        </pc:spChg>
        <pc:spChg chg="mod">
          <ac:chgData name="Roumpis, Konstantinos" userId="6c72b8e3-3757-4137-ae4f-83d233c85c4b" providerId="ADAL" clId="{5706A0CD-19A8-4DE4-933D-7D9D720434E9}" dt="2023-10-21T19:03:00.702" v="825"/>
          <ac:spMkLst>
            <pc:docMk/>
            <pc:sldMk cId="2810870879" sldId="2142533560"/>
            <ac:spMk id="18" creationId="{6ADE02D9-8517-3F9F-B3D5-08DE1104F487}"/>
          </ac:spMkLst>
        </pc:spChg>
        <pc:spChg chg="mod">
          <ac:chgData name="Roumpis, Konstantinos" userId="6c72b8e3-3757-4137-ae4f-83d233c85c4b" providerId="ADAL" clId="{5706A0CD-19A8-4DE4-933D-7D9D720434E9}" dt="2023-10-21T19:03:00.702" v="825"/>
          <ac:spMkLst>
            <pc:docMk/>
            <pc:sldMk cId="2810870879" sldId="2142533560"/>
            <ac:spMk id="19" creationId="{F8254CCE-63C6-999E-E347-0765F57431BB}"/>
          </ac:spMkLst>
        </pc:spChg>
        <pc:spChg chg="add mod">
          <ac:chgData name="Roumpis, Konstantinos" userId="6c72b8e3-3757-4137-ae4f-83d233c85c4b" providerId="ADAL" clId="{5706A0CD-19A8-4DE4-933D-7D9D720434E9}" dt="2023-10-21T19:07:05.384" v="1125" actId="1036"/>
          <ac:spMkLst>
            <pc:docMk/>
            <pc:sldMk cId="2810870879" sldId="2142533560"/>
            <ac:spMk id="20" creationId="{871FEAC2-60BC-18A9-7733-D9FAC16F8D3A}"/>
          </ac:spMkLst>
        </pc:spChg>
        <pc:spChg chg="add mod">
          <ac:chgData name="Roumpis, Konstantinos" userId="6c72b8e3-3757-4137-ae4f-83d233c85c4b" providerId="ADAL" clId="{5706A0CD-19A8-4DE4-933D-7D9D720434E9}" dt="2023-10-21T19:08:45.113" v="1262" actId="1036"/>
          <ac:spMkLst>
            <pc:docMk/>
            <pc:sldMk cId="2810870879" sldId="2142533560"/>
            <ac:spMk id="21" creationId="{A118576D-01EC-8337-FD88-0C51E18D2450}"/>
          </ac:spMkLst>
        </pc:spChg>
        <pc:spChg chg="del">
          <ac:chgData name="Roumpis, Konstantinos" userId="6c72b8e3-3757-4137-ae4f-83d233c85c4b" providerId="ADAL" clId="{5706A0CD-19A8-4DE4-933D-7D9D720434E9}" dt="2023-10-21T19:00:06.408" v="774" actId="478"/>
          <ac:spMkLst>
            <pc:docMk/>
            <pc:sldMk cId="2810870879" sldId="2142533560"/>
            <ac:spMk id="36" creationId="{2BBA9507-A151-4B48-95C6-DA6C0C80C36D}"/>
          </ac:spMkLst>
        </pc:spChg>
        <pc:spChg chg="del">
          <ac:chgData name="Roumpis, Konstantinos" userId="6c72b8e3-3757-4137-ae4f-83d233c85c4b" providerId="ADAL" clId="{5706A0CD-19A8-4DE4-933D-7D9D720434E9}" dt="2023-10-21T19:00:06.408" v="774" actId="478"/>
          <ac:spMkLst>
            <pc:docMk/>
            <pc:sldMk cId="2810870879" sldId="2142533560"/>
            <ac:spMk id="57" creationId="{C4EA3CB5-D0ED-43E0-842D-6417B1F572F6}"/>
          </ac:spMkLst>
        </pc:spChg>
        <pc:spChg chg="del">
          <ac:chgData name="Roumpis, Konstantinos" userId="6c72b8e3-3757-4137-ae4f-83d233c85c4b" providerId="ADAL" clId="{5706A0CD-19A8-4DE4-933D-7D9D720434E9}" dt="2023-10-21T19:00:06.408" v="774" actId="478"/>
          <ac:spMkLst>
            <pc:docMk/>
            <pc:sldMk cId="2810870879" sldId="2142533560"/>
            <ac:spMk id="58" creationId="{08A49011-507C-4E4A-A9DB-63621B399CA9}"/>
          </ac:spMkLst>
        </pc:spChg>
        <pc:spChg chg="del">
          <ac:chgData name="Roumpis, Konstantinos" userId="6c72b8e3-3757-4137-ae4f-83d233c85c4b" providerId="ADAL" clId="{5706A0CD-19A8-4DE4-933D-7D9D720434E9}" dt="2023-10-21T19:00:06.408" v="774" actId="478"/>
          <ac:spMkLst>
            <pc:docMk/>
            <pc:sldMk cId="2810870879" sldId="2142533560"/>
            <ac:spMk id="59" creationId="{026F74A8-2C3C-4CFB-9A66-0B09691A190F}"/>
          </ac:spMkLst>
        </pc:spChg>
        <pc:spChg chg="del">
          <ac:chgData name="Roumpis, Konstantinos" userId="6c72b8e3-3757-4137-ae4f-83d233c85c4b" providerId="ADAL" clId="{5706A0CD-19A8-4DE4-933D-7D9D720434E9}" dt="2023-10-21T19:00:06.408" v="774" actId="478"/>
          <ac:spMkLst>
            <pc:docMk/>
            <pc:sldMk cId="2810870879" sldId="2142533560"/>
            <ac:spMk id="63" creationId="{EDE6A63B-CEF4-450E-A207-F6E4490D036B}"/>
          </ac:spMkLst>
        </pc:spChg>
        <pc:spChg chg="del">
          <ac:chgData name="Roumpis, Konstantinos" userId="6c72b8e3-3757-4137-ae4f-83d233c85c4b" providerId="ADAL" clId="{5706A0CD-19A8-4DE4-933D-7D9D720434E9}" dt="2023-10-21T19:00:06.408" v="774" actId="478"/>
          <ac:spMkLst>
            <pc:docMk/>
            <pc:sldMk cId="2810870879" sldId="2142533560"/>
            <ac:spMk id="64" creationId="{52AF4641-81F1-4396-ACE6-BE8F277653F2}"/>
          </ac:spMkLst>
        </pc:spChg>
        <pc:spChg chg="del">
          <ac:chgData name="Roumpis, Konstantinos" userId="6c72b8e3-3757-4137-ae4f-83d233c85c4b" providerId="ADAL" clId="{5706A0CD-19A8-4DE4-933D-7D9D720434E9}" dt="2023-10-21T19:00:06.408" v="774" actId="478"/>
          <ac:spMkLst>
            <pc:docMk/>
            <pc:sldMk cId="2810870879" sldId="2142533560"/>
            <ac:spMk id="65" creationId="{664337FB-F682-4D29-9C43-113F62634E48}"/>
          </ac:spMkLst>
        </pc:spChg>
        <pc:spChg chg="del">
          <ac:chgData name="Roumpis, Konstantinos" userId="6c72b8e3-3757-4137-ae4f-83d233c85c4b" providerId="ADAL" clId="{5706A0CD-19A8-4DE4-933D-7D9D720434E9}" dt="2023-10-21T19:00:06.408" v="774" actId="478"/>
          <ac:spMkLst>
            <pc:docMk/>
            <pc:sldMk cId="2810870879" sldId="2142533560"/>
            <ac:spMk id="66" creationId="{43F618F2-FF0F-4687-AFBF-F9177EAB629D}"/>
          </ac:spMkLst>
        </pc:spChg>
        <pc:spChg chg="del">
          <ac:chgData name="Roumpis, Konstantinos" userId="6c72b8e3-3757-4137-ae4f-83d233c85c4b" providerId="ADAL" clId="{5706A0CD-19A8-4DE4-933D-7D9D720434E9}" dt="2023-10-21T19:00:06.408" v="774" actId="478"/>
          <ac:spMkLst>
            <pc:docMk/>
            <pc:sldMk cId="2810870879" sldId="2142533560"/>
            <ac:spMk id="67" creationId="{35A0B083-1A2C-4419-BF00-39098CDA0CDE}"/>
          </ac:spMkLst>
        </pc:spChg>
        <pc:spChg chg="del">
          <ac:chgData name="Roumpis, Konstantinos" userId="6c72b8e3-3757-4137-ae4f-83d233c85c4b" providerId="ADAL" clId="{5706A0CD-19A8-4DE4-933D-7D9D720434E9}" dt="2023-10-21T19:00:06.408" v="774" actId="478"/>
          <ac:spMkLst>
            <pc:docMk/>
            <pc:sldMk cId="2810870879" sldId="2142533560"/>
            <ac:spMk id="68" creationId="{7091E651-35F4-4347-A0C9-35429A4F2C90}"/>
          </ac:spMkLst>
        </pc:spChg>
        <pc:spChg chg="del">
          <ac:chgData name="Roumpis, Konstantinos" userId="6c72b8e3-3757-4137-ae4f-83d233c85c4b" providerId="ADAL" clId="{5706A0CD-19A8-4DE4-933D-7D9D720434E9}" dt="2023-10-21T19:00:06.408" v="774" actId="478"/>
          <ac:spMkLst>
            <pc:docMk/>
            <pc:sldMk cId="2810870879" sldId="2142533560"/>
            <ac:spMk id="69" creationId="{1752328B-C530-4A85-A677-336FF132995F}"/>
          </ac:spMkLst>
        </pc:spChg>
        <pc:spChg chg="del">
          <ac:chgData name="Roumpis, Konstantinos" userId="6c72b8e3-3757-4137-ae4f-83d233c85c4b" providerId="ADAL" clId="{5706A0CD-19A8-4DE4-933D-7D9D720434E9}" dt="2023-10-21T19:00:06.408" v="774" actId="478"/>
          <ac:spMkLst>
            <pc:docMk/>
            <pc:sldMk cId="2810870879" sldId="2142533560"/>
            <ac:spMk id="70" creationId="{2129D5BB-F6F3-4B08-AAC8-9AD8D624490F}"/>
          </ac:spMkLst>
        </pc:spChg>
        <pc:spChg chg="del">
          <ac:chgData name="Roumpis, Konstantinos" userId="6c72b8e3-3757-4137-ae4f-83d233c85c4b" providerId="ADAL" clId="{5706A0CD-19A8-4DE4-933D-7D9D720434E9}" dt="2023-10-21T19:00:06.408" v="774" actId="478"/>
          <ac:spMkLst>
            <pc:docMk/>
            <pc:sldMk cId="2810870879" sldId="2142533560"/>
            <ac:spMk id="71" creationId="{C8DC5CEF-89FE-4C54-B43D-9C44683C3538}"/>
          </ac:spMkLst>
        </pc:spChg>
        <pc:spChg chg="del">
          <ac:chgData name="Roumpis, Konstantinos" userId="6c72b8e3-3757-4137-ae4f-83d233c85c4b" providerId="ADAL" clId="{5706A0CD-19A8-4DE4-933D-7D9D720434E9}" dt="2023-10-21T19:00:06.408" v="774" actId="478"/>
          <ac:spMkLst>
            <pc:docMk/>
            <pc:sldMk cId="2810870879" sldId="2142533560"/>
            <ac:spMk id="101" creationId="{4AD23162-2824-4B92-A598-3CF7FA338F95}"/>
          </ac:spMkLst>
        </pc:spChg>
        <pc:grpChg chg="add mod">
          <ac:chgData name="Roumpis, Konstantinos" userId="6c72b8e3-3757-4137-ae4f-83d233c85c4b" providerId="ADAL" clId="{5706A0CD-19A8-4DE4-933D-7D9D720434E9}" dt="2023-10-21T19:03:00.702" v="825"/>
          <ac:grpSpMkLst>
            <pc:docMk/>
            <pc:sldMk cId="2810870879" sldId="2142533560"/>
            <ac:grpSpMk id="7" creationId="{3E3B334F-9C6A-339C-EBFE-3EFF2B626EF6}"/>
          </ac:grpSpMkLst>
        </pc:grpChg>
        <pc:grpChg chg="mod">
          <ac:chgData name="Roumpis, Konstantinos" userId="6c72b8e3-3757-4137-ae4f-83d233c85c4b" providerId="ADAL" clId="{5706A0CD-19A8-4DE4-933D-7D9D720434E9}" dt="2023-10-21T19:03:00.702" v="825"/>
          <ac:grpSpMkLst>
            <pc:docMk/>
            <pc:sldMk cId="2810870879" sldId="2142533560"/>
            <ac:grpSpMk id="8" creationId="{38F2385B-1A62-45E7-3EF0-911C936CAB78}"/>
          </ac:grpSpMkLst>
        </pc:grpChg>
        <pc:grpChg chg="mod">
          <ac:chgData name="Roumpis, Konstantinos" userId="6c72b8e3-3757-4137-ae4f-83d233c85c4b" providerId="ADAL" clId="{5706A0CD-19A8-4DE4-933D-7D9D720434E9}" dt="2023-10-21T19:03:00.702" v="825"/>
          <ac:grpSpMkLst>
            <pc:docMk/>
            <pc:sldMk cId="2810870879" sldId="2142533560"/>
            <ac:grpSpMk id="9" creationId="{70BBFD98-C565-B454-A49A-F56D89894595}"/>
          </ac:grpSpMkLst>
        </pc:grpChg>
        <pc:grpChg chg="mod">
          <ac:chgData name="Roumpis, Konstantinos" userId="6c72b8e3-3757-4137-ae4f-83d233c85c4b" providerId="ADAL" clId="{5706A0CD-19A8-4DE4-933D-7D9D720434E9}" dt="2023-10-21T19:03:00.702" v="825"/>
          <ac:grpSpMkLst>
            <pc:docMk/>
            <pc:sldMk cId="2810870879" sldId="2142533560"/>
            <ac:grpSpMk id="10" creationId="{FCC4AACA-ACA1-EA3E-1972-C00B82731FB9}"/>
          </ac:grpSpMkLst>
        </pc:grpChg>
        <pc:grpChg chg="mod">
          <ac:chgData name="Roumpis, Konstantinos" userId="6c72b8e3-3757-4137-ae4f-83d233c85c4b" providerId="ADAL" clId="{5706A0CD-19A8-4DE4-933D-7D9D720434E9}" dt="2023-10-21T19:03:00.702" v="825"/>
          <ac:grpSpMkLst>
            <pc:docMk/>
            <pc:sldMk cId="2810870879" sldId="2142533560"/>
            <ac:grpSpMk id="16" creationId="{70247111-067C-9B40-0DBB-9A0982FAC146}"/>
          </ac:grpSpMkLst>
        </pc:grpChg>
      </pc:sldChg>
      <pc:sldChg chg="addSp delSp modSp mod">
        <pc:chgData name="Roumpis, Konstantinos" userId="6c72b8e3-3757-4137-ae4f-83d233c85c4b" providerId="ADAL" clId="{5706A0CD-19A8-4DE4-933D-7D9D720434E9}" dt="2023-10-21T18:52:41.524" v="230" actId="20577"/>
        <pc:sldMkLst>
          <pc:docMk/>
          <pc:sldMk cId="2815094945" sldId="2142533563"/>
        </pc:sldMkLst>
        <pc:spChg chg="add mod">
          <ac:chgData name="Roumpis, Konstantinos" userId="6c72b8e3-3757-4137-ae4f-83d233c85c4b" providerId="ADAL" clId="{5706A0CD-19A8-4DE4-933D-7D9D720434E9}" dt="2023-10-21T18:52:41.524" v="230" actId="20577"/>
          <ac:spMkLst>
            <pc:docMk/>
            <pc:sldMk cId="2815094945" sldId="2142533563"/>
            <ac:spMk id="2" creationId="{DDE8D01F-5DFE-F61D-1A22-29508018CE64}"/>
          </ac:spMkLst>
        </pc:spChg>
        <pc:spChg chg="add mod">
          <ac:chgData name="Roumpis, Konstantinos" userId="6c72b8e3-3757-4137-ae4f-83d233c85c4b" providerId="ADAL" clId="{5706A0CD-19A8-4DE4-933D-7D9D720434E9}" dt="2023-10-21T18:52:10.607" v="210"/>
          <ac:spMkLst>
            <pc:docMk/>
            <pc:sldMk cId="2815094945" sldId="2142533563"/>
            <ac:spMk id="3" creationId="{C57D9DC6-32D0-01A7-8101-5478AC77BA99}"/>
          </ac:spMkLst>
        </pc:spChg>
        <pc:spChg chg="add mod">
          <ac:chgData name="Roumpis, Konstantinos" userId="6c72b8e3-3757-4137-ae4f-83d233c85c4b" providerId="ADAL" clId="{5706A0CD-19A8-4DE4-933D-7D9D720434E9}" dt="2023-10-21T18:52:10.607" v="210"/>
          <ac:spMkLst>
            <pc:docMk/>
            <pc:sldMk cId="2815094945" sldId="2142533563"/>
            <ac:spMk id="4" creationId="{5814CE51-A068-6B94-0A34-4E40A8D4473E}"/>
          </ac:spMkLst>
        </pc:spChg>
        <pc:spChg chg="add mod">
          <ac:chgData name="Roumpis, Konstantinos" userId="6c72b8e3-3757-4137-ae4f-83d233c85c4b" providerId="ADAL" clId="{5706A0CD-19A8-4DE4-933D-7D9D720434E9}" dt="2023-10-21T18:52:10.607" v="210"/>
          <ac:spMkLst>
            <pc:docMk/>
            <pc:sldMk cId="2815094945" sldId="2142533563"/>
            <ac:spMk id="7" creationId="{CAD947DA-F910-C449-0575-71E7EFB38051}"/>
          </ac:spMkLst>
        </pc:spChg>
        <pc:spChg chg="add mod">
          <ac:chgData name="Roumpis, Konstantinos" userId="6c72b8e3-3757-4137-ae4f-83d233c85c4b" providerId="ADAL" clId="{5706A0CD-19A8-4DE4-933D-7D9D720434E9}" dt="2023-10-21T18:52:10.607" v="210"/>
          <ac:spMkLst>
            <pc:docMk/>
            <pc:sldMk cId="2815094945" sldId="2142533563"/>
            <ac:spMk id="8" creationId="{5B0ECF8B-DFB2-10C1-D1BF-05F4DC793097}"/>
          </ac:spMkLst>
        </pc:spChg>
        <pc:spChg chg="add mod">
          <ac:chgData name="Roumpis, Konstantinos" userId="6c72b8e3-3757-4137-ae4f-83d233c85c4b" providerId="ADAL" clId="{5706A0CD-19A8-4DE4-933D-7D9D720434E9}" dt="2023-10-21T18:52:10.607" v="210"/>
          <ac:spMkLst>
            <pc:docMk/>
            <pc:sldMk cId="2815094945" sldId="2142533563"/>
            <ac:spMk id="9" creationId="{CA2F1373-8995-C8D2-C695-809970FBCECB}"/>
          </ac:spMkLst>
        </pc:spChg>
        <pc:spChg chg="add mod">
          <ac:chgData name="Roumpis, Konstantinos" userId="6c72b8e3-3757-4137-ae4f-83d233c85c4b" providerId="ADAL" clId="{5706A0CD-19A8-4DE4-933D-7D9D720434E9}" dt="2023-10-21T18:52:10.607" v="210"/>
          <ac:spMkLst>
            <pc:docMk/>
            <pc:sldMk cId="2815094945" sldId="2142533563"/>
            <ac:spMk id="10" creationId="{9CFD4B71-55C0-7D97-CC11-7B6653675379}"/>
          </ac:spMkLst>
        </pc:spChg>
        <pc:spChg chg="add mod">
          <ac:chgData name="Roumpis, Konstantinos" userId="6c72b8e3-3757-4137-ae4f-83d233c85c4b" providerId="ADAL" clId="{5706A0CD-19A8-4DE4-933D-7D9D720434E9}" dt="2023-10-21T18:52:10.607" v="210"/>
          <ac:spMkLst>
            <pc:docMk/>
            <pc:sldMk cId="2815094945" sldId="2142533563"/>
            <ac:spMk id="12" creationId="{0208C378-2B1A-2082-591A-C0CB3859A004}"/>
          </ac:spMkLst>
        </pc:spChg>
        <pc:spChg chg="add mod">
          <ac:chgData name="Roumpis, Konstantinos" userId="6c72b8e3-3757-4137-ae4f-83d233c85c4b" providerId="ADAL" clId="{5706A0CD-19A8-4DE4-933D-7D9D720434E9}" dt="2023-10-21T18:52:10.607" v="210"/>
          <ac:spMkLst>
            <pc:docMk/>
            <pc:sldMk cId="2815094945" sldId="2142533563"/>
            <ac:spMk id="14" creationId="{4EFE0FE4-6424-F9E8-689B-23C3F4CF2085}"/>
          </ac:spMkLst>
        </pc:spChg>
        <pc:spChg chg="add mod">
          <ac:chgData name="Roumpis, Konstantinos" userId="6c72b8e3-3757-4137-ae4f-83d233c85c4b" providerId="ADAL" clId="{5706A0CD-19A8-4DE4-933D-7D9D720434E9}" dt="2023-10-21T18:52:10.607" v="210"/>
          <ac:spMkLst>
            <pc:docMk/>
            <pc:sldMk cId="2815094945" sldId="2142533563"/>
            <ac:spMk id="16" creationId="{5387C8C9-6595-BFBD-BAE3-C23AB1E54302}"/>
          </ac:spMkLst>
        </pc:spChg>
        <pc:spChg chg="add mod">
          <ac:chgData name="Roumpis, Konstantinos" userId="6c72b8e3-3757-4137-ae4f-83d233c85c4b" providerId="ADAL" clId="{5706A0CD-19A8-4DE4-933D-7D9D720434E9}" dt="2023-10-21T18:52:10.607" v="210"/>
          <ac:spMkLst>
            <pc:docMk/>
            <pc:sldMk cId="2815094945" sldId="2142533563"/>
            <ac:spMk id="17" creationId="{AC9C9265-C386-D6BA-11A7-DD70C88BB988}"/>
          </ac:spMkLst>
        </pc:spChg>
        <pc:spChg chg="mod">
          <ac:chgData name="Roumpis, Konstantinos" userId="6c72b8e3-3757-4137-ae4f-83d233c85c4b" providerId="ADAL" clId="{5706A0CD-19A8-4DE4-933D-7D9D720434E9}" dt="2023-10-21T18:52:10.607" v="210"/>
          <ac:spMkLst>
            <pc:docMk/>
            <pc:sldMk cId="2815094945" sldId="2142533563"/>
            <ac:spMk id="19" creationId="{5099DA03-18AE-1986-AD39-BE6DDAE2A8B4}"/>
          </ac:spMkLst>
        </pc:spChg>
        <pc:spChg chg="mod">
          <ac:chgData name="Roumpis, Konstantinos" userId="6c72b8e3-3757-4137-ae4f-83d233c85c4b" providerId="ADAL" clId="{5706A0CD-19A8-4DE4-933D-7D9D720434E9}" dt="2023-10-21T18:52:10.607" v="210"/>
          <ac:spMkLst>
            <pc:docMk/>
            <pc:sldMk cId="2815094945" sldId="2142533563"/>
            <ac:spMk id="20" creationId="{94517B42-7ABB-5BFC-BE2D-FF055831C07C}"/>
          </ac:spMkLst>
        </pc:spChg>
        <pc:spChg chg="mod">
          <ac:chgData name="Roumpis, Konstantinos" userId="6c72b8e3-3757-4137-ae4f-83d233c85c4b" providerId="ADAL" clId="{5706A0CD-19A8-4DE4-933D-7D9D720434E9}" dt="2023-10-21T18:52:10.607" v="210"/>
          <ac:spMkLst>
            <pc:docMk/>
            <pc:sldMk cId="2815094945" sldId="2142533563"/>
            <ac:spMk id="21" creationId="{C5290677-60A7-ABA8-E251-376F399D4C33}"/>
          </ac:spMkLst>
        </pc:spChg>
        <pc:spChg chg="add mod">
          <ac:chgData name="Roumpis, Konstantinos" userId="6c72b8e3-3757-4137-ae4f-83d233c85c4b" providerId="ADAL" clId="{5706A0CD-19A8-4DE4-933D-7D9D720434E9}" dt="2023-10-21T18:52:10.607" v="210"/>
          <ac:spMkLst>
            <pc:docMk/>
            <pc:sldMk cId="2815094945" sldId="2142533563"/>
            <ac:spMk id="22" creationId="{D9743541-6F05-4DE2-5BD1-421FA91090BB}"/>
          </ac:spMkLst>
        </pc:spChg>
        <pc:spChg chg="add mod">
          <ac:chgData name="Roumpis, Konstantinos" userId="6c72b8e3-3757-4137-ae4f-83d233c85c4b" providerId="ADAL" clId="{5706A0CD-19A8-4DE4-933D-7D9D720434E9}" dt="2023-10-21T18:52:10.607" v="210"/>
          <ac:spMkLst>
            <pc:docMk/>
            <pc:sldMk cId="2815094945" sldId="2142533563"/>
            <ac:spMk id="23" creationId="{5168FC24-39B6-4865-58E7-FAA789791F58}"/>
          </ac:spMkLst>
        </pc:spChg>
        <pc:spChg chg="add mod">
          <ac:chgData name="Roumpis, Konstantinos" userId="6c72b8e3-3757-4137-ae4f-83d233c85c4b" providerId="ADAL" clId="{5706A0CD-19A8-4DE4-933D-7D9D720434E9}" dt="2023-10-21T18:52:10.607" v="210"/>
          <ac:spMkLst>
            <pc:docMk/>
            <pc:sldMk cId="2815094945" sldId="2142533563"/>
            <ac:spMk id="24" creationId="{0C86606E-46E8-3F81-21E7-26FA329FC6B0}"/>
          </ac:spMkLst>
        </pc:spChg>
        <pc:spChg chg="del">
          <ac:chgData name="Roumpis, Konstantinos" userId="6c72b8e3-3757-4137-ae4f-83d233c85c4b" providerId="ADAL" clId="{5706A0CD-19A8-4DE4-933D-7D9D720434E9}" dt="2023-10-21T18:52:09.925" v="209" actId="478"/>
          <ac:spMkLst>
            <pc:docMk/>
            <pc:sldMk cId="2815094945" sldId="2142533563"/>
            <ac:spMk id="31" creationId="{00000000-0000-0000-0000-000000000000}"/>
          </ac:spMkLst>
        </pc:spChg>
        <pc:spChg chg="del">
          <ac:chgData name="Roumpis, Konstantinos" userId="6c72b8e3-3757-4137-ae4f-83d233c85c4b" providerId="ADAL" clId="{5706A0CD-19A8-4DE4-933D-7D9D720434E9}" dt="2023-10-21T18:52:09.925" v="209" actId="478"/>
          <ac:spMkLst>
            <pc:docMk/>
            <pc:sldMk cId="2815094945" sldId="2142533563"/>
            <ac:spMk id="33" creationId="{00000000-0000-0000-0000-000000000000}"/>
          </ac:spMkLst>
        </pc:spChg>
        <pc:spChg chg="del">
          <ac:chgData name="Roumpis, Konstantinos" userId="6c72b8e3-3757-4137-ae4f-83d233c85c4b" providerId="ADAL" clId="{5706A0CD-19A8-4DE4-933D-7D9D720434E9}" dt="2023-10-21T18:52:09.925" v="209" actId="478"/>
          <ac:spMkLst>
            <pc:docMk/>
            <pc:sldMk cId="2815094945" sldId="2142533563"/>
            <ac:spMk id="34" creationId="{00000000-0000-0000-0000-000000000000}"/>
          </ac:spMkLst>
        </pc:spChg>
        <pc:spChg chg="del">
          <ac:chgData name="Roumpis, Konstantinos" userId="6c72b8e3-3757-4137-ae4f-83d233c85c4b" providerId="ADAL" clId="{5706A0CD-19A8-4DE4-933D-7D9D720434E9}" dt="2023-10-21T18:52:09.925" v="209" actId="478"/>
          <ac:spMkLst>
            <pc:docMk/>
            <pc:sldMk cId="2815094945" sldId="2142533563"/>
            <ac:spMk id="37" creationId="{C2A81202-E4A8-4902-8FF8-50D4198E5457}"/>
          </ac:spMkLst>
        </pc:spChg>
        <pc:spChg chg="del">
          <ac:chgData name="Roumpis, Konstantinos" userId="6c72b8e3-3757-4137-ae4f-83d233c85c4b" providerId="ADAL" clId="{5706A0CD-19A8-4DE4-933D-7D9D720434E9}" dt="2023-10-21T18:52:09.925" v="209" actId="478"/>
          <ac:spMkLst>
            <pc:docMk/>
            <pc:sldMk cId="2815094945" sldId="2142533563"/>
            <ac:spMk id="38" creationId="{00000000-0000-0000-0000-000000000000}"/>
          </ac:spMkLst>
        </pc:spChg>
        <pc:spChg chg="del">
          <ac:chgData name="Roumpis, Konstantinos" userId="6c72b8e3-3757-4137-ae4f-83d233c85c4b" providerId="ADAL" clId="{5706A0CD-19A8-4DE4-933D-7D9D720434E9}" dt="2023-10-21T18:52:09.925" v="209" actId="478"/>
          <ac:spMkLst>
            <pc:docMk/>
            <pc:sldMk cId="2815094945" sldId="2142533563"/>
            <ac:spMk id="39" creationId="{00000000-0000-0000-0000-000000000000}"/>
          </ac:spMkLst>
        </pc:spChg>
        <pc:spChg chg="del">
          <ac:chgData name="Roumpis, Konstantinos" userId="6c72b8e3-3757-4137-ae4f-83d233c85c4b" providerId="ADAL" clId="{5706A0CD-19A8-4DE4-933D-7D9D720434E9}" dt="2023-10-21T18:52:09.925" v="209" actId="478"/>
          <ac:spMkLst>
            <pc:docMk/>
            <pc:sldMk cId="2815094945" sldId="2142533563"/>
            <ac:spMk id="43" creationId="{00000000-0000-0000-0000-000000000000}"/>
          </ac:spMkLst>
        </pc:spChg>
        <pc:spChg chg="del">
          <ac:chgData name="Roumpis, Konstantinos" userId="6c72b8e3-3757-4137-ae4f-83d233c85c4b" providerId="ADAL" clId="{5706A0CD-19A8-4DE4-933D-7D9D720434E9}" dt="2023-10-21T18:52:09.925" v="209" actId="478"/>
          <ac:spMkLst>
            <pc:docMk/>
            <pc:sldMk cId="2815094945" sldId="2142533563"/>
            <ac:spMk id="44" creationId="{00000000-0000-0000-0000-000000000000}"/>
          </ac:spMkLst>
        </pc:spChg>
        <pc:spChg chg="del">
          <ac:chgData name="Roumpis, Konstantinos" userId="6c72b8e3-3757-4137-ae4f-83d233c85c4b" providerId="ADAL" clId="{5706A0CD-19A8-4DE4-933D-7D9D720434E9}" dt="2023-10-21T18:52:09.925" v="209" actId="478"/>
          <ac:spMkLst>
            <pc:docMk/>
            <pc:sldMk cId="2815094945" sldId="2142533563"/>
            <ac:spMk id="48" creationId="{00000000-0000-0000-0000-000000000000}"/>
          </ac:spMkLst>
        </pc:spChg>
        <pc:spChg chg="del">
          <ac:chgData name="Roumpis, Konstantinos" userId="6c72b8e3-3757-4137-ae4f-83d233c85c4b" providerId="ADAL" clId="{5706A0CD-19A8-4DE4-933D-7D9D720434E9}" dt="2023-10-21T18:52:09.925" v="209" actId="478"/>
          <ac:spMkLst>
            <pc:docMk/>
            <pc:sldMk cId="2815094945" sldId="2142533563"/>
            <ac:spMk id="49" creationId="{00000000-0000-0000-0000-000000000000}"/>
          </ac:spMkLst>
        </pc:spChg>
        <pc:grpChg chg="add mod">
          <ac:chgData name="Roumpis, Konstantinos" userId="6c72b8e3-3757-4137-ae4f-83d233c85c4b" providerId="ADAL" clId="{5706A0CD-19A8-4DE4-933D-7D9D720434E9}" dt="2023-10-21T18:52:10.607" v="210"/>
          <ac:grpSpMkLst>
            <pc:docMk/>
            <pc:sldMk cId="2815094945" sldId="2142533563"/>
            <ac:grpSpMk id="18" creationId="{BD6D95DD-BBD4-7461-7F1D-00D4D9B34E84}"/>
          </ac:grpSpMkLst>
        </pc:grpChg>
        <pc:picChg chg="add mod">
          <ac:chgData name="Roumpis, Konstantinos" userId="6c72b8e3-3757-4137-ae4f-83d233c85c4b" providerId="ADAL" clId="{5706A0CD-19A8-4DE4-933D-7D9D720434E9}" dt="2023-10-21T18:52:10.607" v="210"/>
          <ac:picMkLst>
            <pc:docMk/>
            <pc:sldMk cId="2815094945" sldId="2142533563"/>
            <ac:picMk id="5" creationId="{E6378AA7-9E81-1A51-8F9A-848563428B00}"/>
          </ac:picMkLst>
        </pc:picChg>
        <pc:picChg chg="add mod">
          <ac:chgData name="Roumpis, Konstantinos" userId="6c72b8e3-3757-4137-ae4f-83d233c85c4b" providerId="ADAL" clId="{5706A0CD-19A8-4DE4-933D-7D9D720434E9}" dt="2023-10-21T18:52:10.607" v="210"/>
          <ac:picMkLst>
            <pc:docMk/>
            <pc:sldMk cId="2815094945" sldId="2142533563"/>
            <ac:picMk id="6" creationId="{CE66B370-2225-604F-F35F-1A3DD4BB29E5}"/>
          </ac:picMkLst>
        </pc:picChg>
        <pc:cxnChg chg="del">
          <ac:chgData name="Roumpis, Konstantinos" userId="6c72b8e3-3757-4137-ae4f-83d233c85c4b" providerId="ADAL" clId="{5706A0CD-19A8-4DE4-933D-7D9D720434E9}" dt="2023-10-21T18:52:09.925" v="209" actId="478"/>
          <ac:cxnSpMkLst>
            <pc:docMk/>
            <pc:sldMk cId="2815094945" sldId="2142533563"/>
            <ac:cxnSpMk id="11" creationId="{E984EAAB-8B35-47A5-88E6-D1628802414A}"/>
          </ac:cxnSpMkLst>
        </pc:cxnChg>
        <pc:cxnChg chg="add mod">
          <ac:chgData name="Roumpis, Konstantinos" userId="6c72b8e3-3757-4137-ae4f-83d233c85c4b" providerId="ADAL" clId="{5706A0CD-19A8-4DE4-933D-7D9D720434E9}" dt="2023-10-21T18:52:10.607" v="210"/>
          <ac:cxnSpMkLst>
            <pc:docMk/>
            <pc:sldMk cId="2815094945" sldId="2142533563"/>
            <ac:cxnSpMk id="13" creationId="{ECBB3AD3-254B-8510-E703-18D95D741FE2}"/>
          </ac:cxnSpMkLst>
        </pc:cxnChg>
        <pc:cxnChg chg="add mod">
          <ac:chgData name="Roumpis, Konstantinos" userId="6c72b8e3-3757-4137-ae4f-83d233c85c4b" providerId="ADAL" clId="{5706A0CD-19A8-4DE4-933D-7D9D720434E9}" dt="2023-10-21T18:52:10.607" v="210"/>
          <ac:cxnSpMkLst>
            <pc:docMk/>
            <pc:sldMk cId="2815094945" sldId="2142533563"/>
            <ac:cxnSpMk id="15" creationId="{2F2FF7AD-FCC0-22D5-E29E-6231BEB51531}"/>
          </ac:cxnSpMkLst>
        </pc:cxnChg>
      </pc:sldChg>
      <pc:sldChg chg="del">
        <pc:chgData name="Roumpis, Konstantinos" userId="6c72b8e3-3757-4137-ae4f-83d233c85c4b" providerId="ADAL" clId="{5706A0CD-19A8-4DE4-933D-7D9D720434E9}" dt="2023-10-21T18:53:13.687" v="234" actId="47"/>
        <pc:sldMkLst>
          <pc:docMk/>
          <pc:sldMk cId="3847114790" sldId="2142533564"/>
        </pc:sldMkLst>
      </pc:sldChg>
      <pc:sldChg chg="addSp delSp modSp add mod">
        <pc:chgData name="Roumpis, Konstantinos" userId="6c72b8e3-3757-4137-ae4f-83d233c85c4b" providerId="ADAL" clId="{5706A0CD-19A8-4DE4-933D-7D9D720434E9}" dt="2023-10-21T18:49:48.260" v="183" actId="113"/>
        <pc:sldMkLst>
          <pc:docMk/>
          <pc:sldMk cId="3107052223" sldId="2142533565"/>
        </pc:sldMkLst>
        <pc:spChg chg="del">
          <ac:chgData name="Roumpis, Konstantinos" userId="6c72b8e3-3757-4137-ae4f-83d233c85c4b" providerId="ADAL" clId="{5706A0CD-19A8-4DE4-933D-7D9D720434E9}" dt="2023-10-21T18:48:03.421" v="163" actId="478"/>
          <ac:spMkLst>
            <pc:docMk/>
            <pc:sldMk cId="3107052223" sldId="2142533565"/>
            <ac:spMk id="2" creationId="{842B25E1-6131-FC3F-4C15-A06019024D08}"/>
          </ac:spMkLst>
        </pc:spChg>
        <pc:spChg chg="del">
          <ac:chgData name="Roumpis, Konstantinos" userId="6c72b8e3-3757-4137-ae4f-83d233c85c4b" providerId="ADAL" clId="{5706A0CD-19A8-4DE4-933D-7D9D720434E9}" dt="2023-10-21T18:48:03.421" v="163" actId="478"/>
          <ac:spMkLst>
            <pc:docMk/>
            <pc:sldMk cId="3107052223" sldId="2142533565"/>
            <ac:spMk id="3" creationId="{47268815-56D0-7163-1D08-C62C865CBAFF}"/>
          </ac:spMkLst>
        </pc:spChg>
        <pc:spChg chg="add mod">
          <ac:chgData name="Roumpis, Konstantinos" userId="6c72b8e3-3757-4137-ae4f-83d233c85c4b" providerId="ADAL" clId="{5706A0CD-19A8-4DE4-933D-7D9D720434E9}" dt="2023-10-21T18:49:48.260" v="183" actId="113"/>
          <ac:spMkLst>
            <pc:docMk/>
            <pc:sldMk cId="3107052223" sldId="2142533565"/>
            <ac:spMk id="13" creationId="{52AC4B84-38F0-D249-254D-4BE0B996D1C5}"/>
          </ac:spMkLst>
        </pc:spChg>
        <pc:spChg chg="add mod">
          <ac:chgData name="Roumpis, Konstantinos" userId="6c72b8e3-3757-4137-ae4f-83d233c85c4b" providerId="ADAL" clId="{5706A0CD-19A8-4DE4-933D-7D9D720434E9}" dt="2023-10-21T18:48:19.221" v="164"/>
          <ac:spMkLst>
            <pc:docMk/>
            <pc:sldMk cId="3107052223" sldId="2142533565"/>
            <ac:spMk id="14" creationId="{F17FD1DD-098D-E199-62F3-602AD79D6BE2}"/>
          </ac:spMkLst>
        </pc:spChg>
        <pc:spChg chg="add mod">
          <ac:chgData name="Roumpis, Konstantinos" userId="6c72b8e3-3757-4137-ae4f-83d233c85c4b" providerId="ADAL" clId="{5706A0CD-19A8-4DE4-933D-7D9D720434E9}" dt="2023-10-21T18:48:27.481" v="178" actId="20577"/>
          <ac:spMkLst>
            <pc:docMk/>
            <pc:sldMk cId="3107052223" sldId="2142533565"/>
            <ac:spMk id="17" creationId="{118803F5-D2FC-0856-C2CF-D206D7453B7B}"/>
          </ac:spMkLst>
        </pc:spChg>
        <pc:spChg chg="add mod">
          <ac:chgData name="Roumpis, Konstantinos" userId="6c72b8e3-3757-4137-ae4f-83d233c85c4b" providerId="ADAL" clId="{5706A0CD-19A8-4DE4-933D-7D9D720434E9}" dt="2023-10-21T18:48:19.221" v="164"/>
          <ac:spMkLst>
            <pc:docMk/>
            <pc:sldMk cId="3107052223" sldId="2142533565"/>
            <ac:spMk id="20" creationId="{E3FEAA5D-C879-0EA7-8C17-507BCCC6C1C5}"/>
          </ac:spMkLst>
        </pc:spChg>
        <pc:spChg chg="add mod">
          <ac:chgData name="Roumpis, Konstantinos" userId="6c72b8e3-3757-4137-ae4f-83d233c85c4b" providerId="ADAL" clId="{5706A0CD-19A8-4DE4-933D-7D9D720434E9}" dt="2023-10-21T18:48:19.221" v="164"/>
          <ac:spMkLst>
            <pc:docMk/>
            <pc:sldMk cId="3107052223" sldId="2142533565"/>
            <ac:spMk id="22" creationId="{7744CAB1-90EF-B32C-E0A6-DDF0808B3B7A}"/>
          </ac:spMkLst>
        </pc:spChg>
        <pc:spChg chg="add mod">
          <ac:chgData name="Roumpis, Konstantinos" userId="6c72b8e3-3757-4137-ae4f-83d233c85c4b" providerId="ADAL" clId="{5706A0CD-19A8-4DE4-933D-7D9D720434E9}" dt="2023-10-21T18:48:19.221" v="164"/>
          <ac:spMkLst>
            <pc:docMk/>
            <pc:sldMk cId="3107052223" sldId="2142533565"/>
            <ac:spMk id="23" creationId="{3A344C22-3908-17E3-80E7-1FC41CA51803}"/>
          </ac:spMkLst>
        </pc:spChg>
        <pc:spChg chg="add mod">
          <ac:chgData name="Roumpis, Konstantinos" userId="6c72b8e3-3757-4137-ae4f-83d233c85c4b" providerId="ADAL" clId="{5706A0CD-19A8-4DE4-933D-7D9D720434E9}" dt="2023-10-21T18:48:19.221" v="164"/>
          <ac:spMkLst>
            <pc:docMk/>
            <pc:sldMk cId="3107052223" sldId="2142533565"/>
            <ac:spMk id="26" creationId="{6B1AA51A-1487-5BF2-921D-335BCE1BD2F5}"/>
          </ac:spMkLst>
        </pc:spChg>
        <pc:spChg chg="mod">
          <ac:chgData name="Roumpis, Konstantinos" userId="6c72b8e3-3757-4137-ae4f-83d233c85c4b" providerId="ADAL" clId="{5706A0CD-19A8-4DE4-933D-7D9D720434E9}" dt="2023-10-21T18:48:19.221" v="164"/>
          <ac:spMkLst>
            <pc:docMk/>
            <pc:sldMk cId="3107052223" sldId="2142533565"/>
            <ac:spMk id="36" creationId="{A5CD4820-BB7E-EB45-A039-B888239EFEC9}"/>
          </ac:spMkLst>
        </pc:spChg>
        <pc:spChg chg="mod">
          <ac:chgData name="Roumpis, Konstantinos" userId="6c72b8e3-3757-4137-ae4f-83d233c85c4b" providerId="ADAL" clId="{5706A0CD-19A8-4DE4-933D-7D9D720434E9}" dt="2023-10-21T18:48:19.221" v="164"/>
          <ac:spMkLst>
            <pc:docMk/>
            <pc:sldMk cId="3107052223" sldId="2142533565"/>
            <ac:spMk id="39" creationId="{D0EB9AB9-457D-0AAF-EBBA-D45AE2314596}"/>
          </ac:spMkLst>
        </pc:spChg>
        <pc:spChg chg="add mod">
          <ac:chgData name="Roumpis, Konstantinos" userId="6c72b8e3-3757-4137-ae4f-83d233c85c4b" providerId="ADAL" clId="{5706A0CD-19A8-4DE4-933D-7D9D720434E9}" dt="2023-10-21T18:48:19.221" v="164"/>
          <ac:spMkLst>
            <pc:docMk/>
            <pc:sldMk cId="3107052223" sldId="2142533565"/>
            <ac:spMk id="40" creationId="{DD72D0AD-8535-BB6A-ED6C-442DC0A11AAA}"/>
          </ac:spMkLst>
        </pc:spChg>
        <pc:spChg chg="add mod">
          <ac:chgData name="Roumpis, Konstantinos" userId="6c72b8e3-3757-4137-ae4f-83d233c85c4b" providerId="ADAL" clId="{5706A0CD-19A8-4DE4-933D-7D9D720434E9}" dt="2023-10-21T18:48:19.221" v="164"/>
          <ac:spMkLst>
            <pc:docMk/>
            <pc:sldMk cId="3107052223" sldId="2142533565"/>
            <ac:spMk id="46" creationId="{EB9E6E2C-19D7-82BD-9193-A1C6793516D8}"/>
          </ac:spMkLst>
        </pc:spChg>
        <pc:spChg chg="del">
          <ac:chgData name="Roumpis, Konstantinos" userId="6c72b8e3-3757-4137-ae4f-83d233c85c4b" providerId="ADAL" clId="{5706A0CD-19A8-4DE4-933D-7D9D720434E9}" dt="2023-10-21T18:48:03.421" v="163" actId="478"/>
          <ac:spMkLst>
            <pc:docMk/>
            <pc:sldMk cId="3107052223" sldId="2142533565"/>
            <ac:spMk id="51" creationId="{AA0C8C28-56B9-98C7-6EDD-37A533A8C37C}"/>
          </ac:spMkLst>
        </pc:spChg>
        <pc:spChg chg="add mod">
          <ac:chgData name="Roumpis, Konstantinos" userId="6c72b8e3-3757-4137-ae4f-83d233c85c4b" providerId="ADAL" clId="{5706A0CD-19A8-4DE4-933D-7D9D720434E9}" dt="2023-10-21T18:48:19.221" v="164"/>
          <ac:spMkLst>
            <pc:docMk/>
            <pc:sldMk cId="3107052223" sldId="2142533565"/>
            <ac:spMk id="53" creationId="{1BE3B21F-0E3C-238B-F95D-698BC220E611}"/>
          </ac:spMkLst>
        </pc:spChg>
        <pc:spChg chg="mod">
          <ac:chgData name="Roumpis, Konstantinos" userId="6c72b8e3-3757-4137-ae4f-83d233c85c4b" providerId="ADAL" clId="{5706A0CD-19A8-4DE4-933D-7D9D720434E9}" dt="2023-10-21T18:48:19.221" v="164"/>
          <ac:spMkLst>
            <pc:docMk/>
            <pc:sldMk cId="3107052223" sldId="2142533565"/>
            <ac:spMk id="56" creationId="{3927E7C9-E379-9D22-BE05-54C9E708ABA2}"/>
          </ac:spMkLst>
        </pc:spChg>
        <pc:spChg chg="mod">
          <ac:chgData name="Roumpis, Konstantinos" userId="6c72b8e3-3757-4137-ae4f-83d233c85c4b" providerId="ADAL" clId="{5706A0CD-19A8-4DE4-933D-7D9D720434E9}" dt="2023-10-21T18:48:19.221" v="164"/>
          <ac:spMkLst>
            <pc:docMk/>
            <pc:sldMk cId="3107052223" sldId="2142533565"/>
            <ac:spMk id="57" creationId="{47389E57-7379-052D-D9A4-77A32AC31470}"/>
          </ac:spMkLst>
        </pc:spChg>
        <pc:spChg chg="mod">
          <ac:chgData name="Roumpis, Konstantinos" userId="6c72b8e3-3757-4137-ae4f-83d233c85c4b" providerId="ADAL" clId="{5706A0CD-19A8-4DE4-933D-7D9D720434E9}" dt="2023-10-21T18:48:19.221" v="164"/>
          <ac:spMkLst>
            <pc:docMk/>
            <pc:sldMk cId="3107052223" sldId="2142533565"/>
            <ac:spMk id="58" creationId="{984744EE-0FB2-53A2-6E27-4A5942D1030D}"/>
          </ac:spMkLst>
        </pc:spChg>
        <pc:spChg chg="add mod">
          <ac:chgData name="Roumpis, Konstantinos" userId="6c72b8e3-3757-4137-ae4f-83d233c85c4b" providerId="ADAL" clId="{5706A0CD-19A8-4DE4-933D-7D9D720434E9}" dt="2023-10-21T18:48:19.221" v="164"/>
          <ac:spMkLst>
            <pc:docMk/>
            <pc:sldMk cId="3107052223" sldId="2142533565"/>
            <ac:spMk id="61" creationId="{A51FC6D8-88DE-E386-E4CD-BFE2C78BDD7C}"/>
          </ac:spMkLst>
        </pc:spChg>
        <pc:spChg chg="add mod">
          <ac:chgData name="Roumpis, Konstantinos" userId="6c72b8e3-3757-4137-ae4f-83d233c85c4b" providerId="ADAL" clId="{5706A0CD-19A8-4DE4-933D-7D9D720434E9}" dt="2023-10-21T18:48:19.221" v="164"/>
          <ac:spMkLst>
            <pc:docMk/>
            <pc:sldMk cId="3107052223" sldId="2142533565"/>
            <ac:spMk id="62" creationId="{589C74FF-411B-E5B1-1EFE-757F0D6370A9}"/>
          </ac:spMkLst>
        </pc:spChg>
        <pc:spChg chg="add mod">
          <ac:chgData name="Roumpis, Konstantinos" userId="6c72b8e3-3757-4137-ae4f-83d233c85c4b" providerId="ADAL" clId="{5706A0CD-19A8-4DE4-933D-7D9D720434E9}" dt="2023-10-21T18:48:19.221" v="164"/>
          <ac:spMkLst>
            <pc:docMk/>
            <pc:sldMk cId="3107052223" sldId="2142533565"/>
            <ac:spMk id="64" creationId="{A8AA69F0-FC04-03F6-32C9-BDA6AECE77AE}"/>
          </ac:spMkLst>
        </pc:spChg>
        <pc:spChg chg="mod">
          <ac:chgData name="Roumpis, Konstantinos" userId="6c72b8e3-3757-4137-ae4f-83d233c85c4b" providerId="ADAL" clId="{5706A0CD-19A8-4DE4-933D-7D9D720434E9}" dt="2023-10-21T18:48:19.221" v="164"/>
          <ac:spMkLst>
            <pc:docMk/>
            <pc:sldMk cId="3107052223" sldId="2142533565"/>
            <ac:spMk id="67" creationId="{D932D798-7A6B-EE6B-8F31-4A9681DDEDB0}"/>
          </ac:spMkLst>
        </pc:spChg>
        <pc:spChg chg="mod">
          <ac:chgData name="Roumpis, Konstantinos" userId="6c72b8e3-3757-4137-ae4f-83d233c85c4b" providerId="ADAL" clId="{5706A0CD-19A8-4DE4-933D-7D9D720434E9}" dt="2023-10-21T18:48:19.221" v="164"/>
          <ac:spMkLst>
            <pc:docMk/>
            <pc:sldMk cId="3107052223" sldId="2142533565"/>
            <ac:spMk id="68" creationId="{5116F3F5-FC9B-5EFE-8C28-55E89E6DC6CF}"/>
          </ac:spMkLst>
        </pc:spChg>
        <pc:spChg chg="mod">
          <ac:chgData name="Roumpis, Konstantinos" userId="6c72b8e3-3757-4137-ae4f-83d233c85c4b" providerId="ADAL" clId="{5706A0CD-19A8-4DE4-933D-7D9D720434E9}" dt="2023-10-21T18:48:19.221" v="164"/>
          <ac:spMkLst>
            <pc:docMk/>
            <pc:sldMk cId="3107052223" sldId="2142533565"/>
            <ac:spMk id="69" creationId="{87F7041B-5240-E118-BA3B-E325CB1105F4}"/>
          </ac:spMkLst>
        </pc:spChg>
        <pc:spChg chg="mod">
          <ac:chgData name="Roumpis, Konstantinos" userId="6c72b8e3-3757-4137-ae4f-83d233c85c4b" providerId="ADAL" clId="{5706A0CD-19A8-4DE4-933D-7D9D720434E9}" dt="2023-10-21T18:48:19.221" v="164"/>
          <ac:spMkLst>
            <pc:docMk/>
            <pc:sldMk cId="3107052223" sldId="2142533565"/>
            <ac:spMk id="72" creationId="{2EF5003E-5364-7C17-58CA-10BD155C753E}"/>
          </ac:spMkLst>
        </pc:spChg>
        <pc:spChg chg="mod">
          <ac:chgData name="Roumpis, Konstantinos" userId="6c72b8e3-3757-4137-ae4f-83d233c85c4b" providerId="ADAL" clId="{5706A0CD-19A8-4DE4-933D-7D9D720434E9}" dt="2023-10-21T18:48:19.221" v="164"/>
          <ac:spMkLst>
            <pc:docMk/>
            <pc:sldMk cId="3107052223" sldId="2142533565"/>
            <ac:spMk id="73" creationId="{57FF2B13-AB7B-8025-547F-67CDD7318FB5}"/>
          </ac:spMkLst>
        </pc:spChg>
        <pc:spChg chg="mod">
          <ac:chgData name="Roumpis, Konstantinos" userId="6c72b8e3-3757-4137-ae4f-83d233c85c4b" providerId="ADAL" clId="{5706A0CD-19A8-4DE4-933D-7D9D720434E9}" dt="2023-10-21T18:48:19.221" v="164"/>
          <ac:spMkLst>
            <pc:docMk/>
            <pc:sldMk cId="3107052223" sldId="2142533565"/>
            <ac:spMk id="74" creationId="{7ACF2367-B78B-5978-6449-E710F123A246}"/>
          </ac:spMkLst>
        </pc:spChg>
        <pc:grpChg chg="del">
          <ac:chgData name="Roumpis, Konstantinos" userId="6c72b8e3-3757-4137-ae4f-83d233c85c4b" providerId="ADAL" clId="{5706A0CD-19A8-4DE4-933D-7D9D720434E9}" dt="2023-10-21T18:48:03.421" v="163" actId="478"/>
          <ac:grpSpMkLst>
            <pc:docMk/>
            <pc:sldMk cId="3107052223" sldId="2142533565"/>
            <ac:grpSpMk id="4" creationId="{33B550B1-4C1D-91DC-01FB-43B2AC27E4CC}"/>
          </ac:grpSpMkLst>
        </pc:grpChg>
        <pc:grpChg chg="add mod">
          <ac:chgData name="Roumpis, Konstantinos" userId="6c72b8e3-3757-4137-ae4f-83d233c85c4b" providerId="ADAL" clId="{5706A0CD-19A8-4DE4-933D-7D9D720434E9}" dt="2023-10-21T18:48:19.221" v="164"/>
          <ac:grpSpMkLst>
            <pc:docMk/>
            <pc:sldMk cId="3107052223" sldId="2142533565"/>
            <ac:grpSpMk id="27" creationId="{EE2DB97B-ECDD-0D88-168D-265B5D624D34}"/>
          </ac:grpSpMkLst>
        </pc:grpChg>
        <pc:grpChg chg="add mod">
          <ac:chgData name="Roumpis, Konstantinos" userId="6c72b8e3-3757-4137-ae4f-83d233c85c4b" providerId="ADAL" clId="{5706A0CD-19A8-4DE4-933D-7D9D720434E9}" dt="2023-10-21T18:48:19.221" v="164"/>
          <ac:grpSpMkLst>
            <pc:docMk/>
            <pc:sldMk cId="3107052223" sldId="2142533565"/>
            <ac:grpSpMk id="55" creationId="{52B981A7-463C-4AA8-A728-005F5B6EF021}"/>
          </ac:grpSpMkLst>
        </pc:grpChg>
        <pc:grpChg chg="add mod">
          <ac:chgData name="Roumpis, Konstantinos" userId="6c72b8e3-3757-4137-ae4f-83d233c85c4b" providerId="ADAL" clId="{5706A0CD-19A8-4DE4-933D-7D9D720434E9}" dt="2023-10-21T18:48:19.221" v="164"/>
          <ac:grpSpMkLst>
            <pc:docMk/>
            <pc:sldMk cId="3107052223" sldId="2142533565"/>
            <ac:grpSpMk id="66" creationId="{7B8C69F2-CC76-6FB3-8063-CF85444033EF}"/>
          </ac:grpSpMkLst>
        </pc:grpChg>
        <pc:grpChg chg="add mod">
          <ac:chgData name="Roumpis, Konstantinos" userId="6c72b8e3-3757-4137-ae4f-83d233c85c4b" providerId="ADAL" clId="{5706A0CD-19A8-4DE4-933D-7D9D720434E9}" dt="2023-10-21T18:48:19.221" v="164"/>
          <ac:grpSpMkLst>
            <pc:docMk/>
            <pc:sldMk cId="3107052223" sldId="2142533565"/>
            <ac:grpSpMk id="71" creationId="{5F29142C-0FD1-4560-2BB3-07489E2375A3}"/>
          </ac:grpSpMkLst>
        </pc:grpChg>
        <pc:picChg chg="add mod">
          <ac:chgData name="Roumpis, Konstantinos" userId="6c72b8e3-3757-4137-ae4f-83d233c85c4b" providerId="ADAL" clId="{5706A0CD-19A8-4DE4-933D-7D9D720434E9}" dt="2023-10-21T18:48:19.221" v="164"/>
          <ac:picMkLst>
            <pc:docMk/>
            <pc:sldMk cId="3107052223" sldId="2142533565"/>
            <ac:picMk id="18" creationId="{28659A73-7FBA-CC42-DEF7-D5A15D56D4E3}"/>
          </ac:picMkLst>
        </pc:picChg>
        <pc:picChg chg="add mod">
          <ac:chgData name="Roumpis, Konstantinos" userId="6c72b8e3-3757-4137-ae4f-83d233c85c4b" providerId="ADAL" clId="{5706A0CD-19A8-4DE4-933D-7D9D720434E9}" dt="2023-10-21T18:48:19.221" v="164"/>
          <ac:picMkLst>
            <pc:docMk/>
            <pc:sldMk cId="3107052223" sldId="2142533565"/>
            <ac:picMk id="19" creationId="{90E3829B-BC8F-2380-68A3-2020B6C428F4}"/>
          </ac:picMkLst>
        </pc:picChg>
        <pc:picChg chg="add mod">
          <ac:chgData name="Roumpis, Konstantinos" userId="6c72b8e3-3757-4137-ae4f-83d233c85c4b" providerId="ADAL" clId="{5706A0CD-19A8-4DE4-933D-7D9D720434E9}" dt="2023-10-21T18:48:19.221" v="164"/>
          <ac:picMkLst>
            <pc:docMk/>
            <pc:sldMk cId="3107052223" sldId="2142533565"/>
            <ac:picMk id="43" creationId="{E0F4CE3E-C376-6C5A-99F7-0F25D6BB4F6B}"/>
          </ac:picMkLst>
        </pc:picChg>
        <pc:picChg chg="add mod">
          <ac:chgData name="Roumpis, Konstantinos" userId="6c72b8e3-3757-4137-ae4f-83d233c85c4b" providerId="ADAL" clId="{5706A0CD-19A8-4DE4-933D-7D9D720434E9}" dt="2023-10-21T18:48:19.221" v="164"/>
          <ac:picMkLst>
            <pc:docMk/>
            <pc:sldMk cId="3107052223" sldId="2142533565"/>
            <ac:picMk id="44" creationId="{A4965B0B-0C3B-5F8E-B839-6621C24253DA}"/>
          </ac:picMkLst>
        </pc:picChg>
        <pc:picChg chg="add mod">
          <ac:chgData name="Roumpis, Konstantinos" userId="6c72b8e3-3757-4137-ae4f-83d233c85c4b" providerId="ADAL" clId="{5706A0CD-19A8-4DE4-933D-7D9D720434E9}" dt="2023-10-21T18:48:19.221" v="164"/>
          <ac:picMkLst>
            <pc:docMk/>
            <pc:sldMk cId="3107052223" sldId="2142533565"/>
            <ac:picMk id="47" creationId="{40D53B3B-974D-F657-6C08-5E41887AD0BA}"/>
          </ac:picMkLst>
        </pc:picChg>
        <pc:cxnChg chg="mod">
          <ac:chgData name="Roumpis, Konstantinos" userId="6c72b8e3-3757-4137-ae4f-83d233c85c4b" providerId="ADAL" clId="{5706A0CD-19A8-4DE4-933D-7D9D720434E9}" dt="2023-10-21T18:48:03.421" v="163" actId="478"/>
          <ac:cxnSpMkLst>
            <pc:docMk/>
            <pc:sldMk cId="3107052223" sldId="2142533565"/>
            <ac:cxnSpMk id="25" creationId="{644B193D-9A7D-3BB2-B562-45147D7EF911}"/>
          </ac:cxnSpMkLst>
        </pc:cxnChg>
        <pc:cxnChg chg="mod">
          <ac:chgData name="Roumpis, Konstantinos" userId="6c72b8e3-3757-4137-ae4f-83d233c85c4b" providerId="ADAL" clId="{5706A0CD-19A8-4DE4-933D-7D9D720434E9}" dt="2023-10-21T18:48:03.421" v="163" actId="478"/>
          <ac:cxnSpMkLst>
            <pc:docMk/>
            <pc:sldMk cId="3107052223" sldId="2142533565"/>
            <ac:cxnSpMk id="31" creationId="{66CB07A4-1ACD-E069-C0D2-30E46B70E004}"/>
          </ac:cxnSpMkLst>
        </pc:cxnChg>
        <pc:cxnChg chg="mod">
          <ac:chgData name="Roumpis, Konstantinos" userId="6c72b8e3-3757-4137-ae4f-83d233c85c4b" providerId="ADAL" clId="{5706A0CD-19A8-4DE4-933D-7D9D720434E9}" dt="2023-10-21T18:48:03.421" v="163" actId="478"/>
          <ac:cxnSpMkLst>
            <pc:docMk/>
            <pc:sldMk cId="3107052223" sldId="2142533565"/>
            <ac:cxnSpMk id="32" creationId="{C79F4EA5-D2B5-39CF-F829-E9ED15D061FD}"/>
          </ac:cxnSpMkLst>
        </pc:cxnChg>
        <pc:cxnChg chg="add mod">
          <ac:chgData name="Roumpis, Konstantinos" userId="6c72b8e3-3757-4137-ae4f-83d233c85c4b" providerId="ADAL" clId="{5706A0CD-19A8-4DE4-933D-7D9D720434E9}" dt="2023-10-21T18:48:19.221" v="164"/>
          <ac:cxnSpMkLst>
            <pc:docMk/>
            <pc:sldMk cId="3107052223" sldId="2142533565"/>
            <ac:cxnSpMk id="41" creationId="{4AB43CCE-1C48-002C-2252-77FE3FD85439}"/>
          </ac:cxnSpMkLst>
        </pc:cxnChg>
        <pc:cxnChg chg="add mod">
          <ac:chgData name="Roumpis, Konstantinos" userId="6c72b8e3-3757-4137-ae4f-83d233c85c4b" providerId="ADAL" clId="{5706A0CD-19A8-4DE4-933D-7D9D720434E9}" dt="2023-10-21T18:48:19.221" v="164"/>
          <ac:cxnSpMkLst>
            <pc:docMk/>
            <pc:sldMk cId="3107052223" sldId="2142533565"/>
            <ac:cxnSpMk id="42" creationId="{87429F5D-3A13-920B-EA81-F7A6B3BECD48}"/>
          </ac:cxnSpMkLst>
        </pc:cxnChg>
        <pc:cxnChg chg="add mod">
          <ac:chgData name="Roumpis, Konstantinos" userId="6c72b8e3-3757-4137-ae4f-83d233c85c4b" providerId="ADAL" clId="{5706A0CD-19A8-4DE4-933D-7D9D720434E9}" dt="2023-10-21T18:48:19.221" v="164"/>
          <ac:cxnSpMkLst>
            <pc:docMk/>
            <pc:sldMk cId="3107052223" sldId="2142533565"/>
            <ac:cxnSpMk id="45" creationId="{B75BF66D-B9FB-D6B0-3437-E8BA46BC7233}"/>
          </ac:cxnSpMkLst>
        </pc:cxnChg>
        <pc:cxnChg chg="add mod">
          <ac:chgData name="Roumpis, Konstantinos" userId="6c72b8e3-3757-4137-ae4f-83d233c85c4b" providerId="ADAL" clId="{5706A0CD-19A8-4DE4-933D-7D9D720434E9}" dt="2023-10-21T18:48:19.221" v="164"/>
          <ac:cxnSpMkLst>
            <pc:docMk/>
            <pc:sldMk cId="3107052223" sldId="2142533565"/>
            <ac:cxnSpMk id="52" creationId="{B4BC1FC9-B9EF-268E-D05C-04DB3F20DC19}"/>
          </ac:cxnSpMkLst>
        </pc:cxnChg>
        <pc:cxnChg chg="add mod">
          <ac:chgData name="Roumpis, Konstantinos" userId="6c72b8e3-3757-4137-ae4f-83d233c85c4b" providerId="ADAL" clId="{5706A0CD-19A8-4DE4-933D-7D9D720434E9}" dt="2023-10-21T18:48:19.221" v="164"/>
          <ac:cxnSpMkLst>
            <pc:docMk/>
            <pc:sldMk cId="3107052223" sldId="2142533565"/>
            <ac:cxnSpMk id="54" creationId="{1DD0F6B2-717D-77E5-E179-BC1F8307F394}"/>
          </ac:cxnSpMkLst>
        </pc:cxnChg>
        <pc:cxnChg chg="add mod">
          <ac:chgData name="Roumpis, Konstantinos" userId="6c72b8e3-3757-4137-ae4f-83d233c85c4b" providerId="ADAL" clId="{5706A0CD-19A8-4DE4-933D-7D9D720434E9}" dt="2023-10-21T18:48:19.221" v="164"/>
          <ac:cxnSpMkLst>
            <pc:docMk/>
            <pc:sldMk cId="3107052223" sldId="2142533565"/>
            <ac:cxnSpMk id="59" creationId="{F007D45E-1984-C4C4-4412-BB150F99F595}"/>
          </ac:cxnSpMkLst>
        </pc:cxnChg>
        <pc:cxnChg chg="add mod">
          <ac:chgData name="Roumpis, Konstantinos" userId="6c72b8e3-3757-4137-ae4f-83d233c85c4b" providerId="ADAL" clId="{5706A0CD-19A8-4DE4-933D-7D9D720434E9}" dt="2023-10-21T18:48:19.221" v="164"/>
          <ac:cxnSpMkLst>
            <pc:docMk/>
            <pc:sldMk cId="3107052223" sldId="2142533565"/>
            <ac:cxnSpMk id="60" creationId="{54FF0075-059C-FEA6-A506-1C40598012D2}"/>
          </ac:cxnSpMkLst>
        </pc:cxnChg>
        <pc:cxnChg chg="add mod">
          <ac:chgData name="Roumpis, Konstantinos" userId="6c72b8e3-3757-4137-ae4f-83d233c85c4b" providerId="ADAL" clId="{5706A0CD-19A8-4DE4-933D-7D9D720434E9}" dt="2023-10-21T18:48:19.221" v="164"/>
          <ac:cxnSpMkLst>
            <pc:docMk/>
            <pc:sldMk cId="3107052223" sldId="2142533565"/>
            <ac:cxnSpMk id="63" creationId="{29098BF8-4DA0-4DC3-6821-CA20B97ABB06}"/>
          </ac:cxnSpMkLst>
        </pc:cxnChg>
        <pc:cxnChg chg="add mod">
          <ac:chgData name="Roumpis, Konstantinos" userId="6c72b8e3-3757-4137-ae4f-83d233c85c4b" providerId="ADAL" clId="{5706A0CD-19A8-4DE4-933D-7D9D720434E9}" dt="2023-10-21T18:48:19.221" v="164"/>
          <ac:cxnSpMkLst>
            <pc:docMk/>
            <pc:sldMk cId="3107052223" sldId="2142533565"/>
            <ac:cxnSpMk id="65" creationId="{BE3E68D8-6D57-68A5-1AEA-B1A427A19248}"/>
          </ac:cxnSpMkLst>
        </pc:cxnChg>
        <pc:cxnChg chg="add mod">
          <ac:chgData name="Roumpis, Konstantinos" userId="6c72b8e3-3757-4137-ae4f-83d233c85c4b" providerId="ADAL" clId="{5706A0CD-19A8-4DE4-933D-7D9D720434E9}" dt="2023-10-21T18:48:19.221" v="164"/>
          <ac:cxnSpMkLst>
            <pc:docMk/>
            <pc:sldMk cId="3107052223" sldId="2142533565"/>
            <ac:cxnSpMk id="70" creationId="{4D42333B-65E3-86DC-C938-43CB2763F562}"/>
          </ac:cxnSpMkLst>
        </pc:cxnChg>
      </pc:sldChg>
      <pc:sldChg chg="addSp delSp modSp add mod">
        <pc:chgData name="Roumpis, Konstantinos" userId="6c72b8e3-3757-4137-ae4f-83d233c85c4b" providerId="ADAL" clId="{5706A0CD-19A8-4DE4-933D-7D9D720434E9}" dt="2023-10-21T19:00:30.948" v="814" actId="20577"/>
        <pc:sldMkLst>
          <pc:docMk/>
          <pc:sldMk cId="2774478351" sldId="2142533566"/>
        </pc:sldMkLst>
        <pc:spChg chg="del">
          <ac:chgData name="Roumpis, Konstantinos" userId="6c72b8e3-3757-4137-ae4f-83d233c85c4b" providerId="ADAL" clId="{5706A0CD-19A8-4DE4-933D-7D9D720434E9}" dt="2023-10-21T18:53:11.142" v="233" actId="478"/>
          <ac:spMkLst>
            <pc:docMk/>
            <pc:sldMk cId="2774478351" sldId="2142533566"/>
            <ac:spMk id="2" creationId="{DDE8D01F-5DFE-F61D-1A22-29508018CE64}"/>
          </ac:spMkLst>
        </pc:spChg>
        <pc:spChg chg="mod">
          <ac:chgData name="Roumpis, Konstantinos" userId="6c72b8e3-3757-4137-ae4f-83d233c85c4b" providerId="ADAL" clId="{5706A0CD-19A8-4DE4-933D-7D9D720434E9}" dt="2023-10-21T19:00:30.948" v="814" actId="20577"/>
          <ac:spMkLst>
            <pc:docMk/>
            <pc:sldMk cId="2774478351" sldId="2142533566"/>
            <ac:spMk id="3" creationId="{C57D9DC6-32D0-01A7-8101-5478AC77BA99}"/>
          </ac:spMkLst>
        </pc:spChg>
        <pc:spChg chg="del">
          <ac:chgData name="Roumpis, Konstantinos" userId="6c72b8e3-3757-4137-ae4f-83d233c85c4b" providerId="ADAL" clId="{5706A0CD-19A8-4DE4-933D-7D9D720434E9}" dt="2023-10-21T18:53:08.630" v="232" actId="478"/>
          <ac:spMkLst>
            <pc:docMk/>
            <pc:sldMk cId="2774478351" sldId="2142533566"/>
            <ac:spMk id="7" creationId="{CAD947DA-F910-C449-0575-71E7EFB38051}"/>
          </ac:spMkLst>
        </pc:spChg>
        <pc:spChg chg="del">
          <ac:chgData name="Roumpis, Konstantinos" userId="6c72b8e3-3757-4137-ae4f-83d233c85c4b" providerId="ADAL" clId="{5706A0CD-19A8-4DE4-933D-7D9D720434E9}" dt="2023-10-21T18:53:08.630" v="232" actId="478"/>
          <ac:spMkLst>
            <pc:docMk/>
            <pc:sldMk cId="2774478351" sldId="2142533566"/>
            <ac:spMk id="8" creationId="{5B0ECF8B-DFB2-10C1-D1BF-05F4DC793097}"/>
          </ac:spMkLst>
        </pc:spChg>
        <pc:spChg chg="del">
          <ac:chgData name="Roumpis, Konstantinos" userId="6c72b8e3-3757-4137-ae4f-83d233c85c4b" providerId="ADAL" clId="{5706A0CD-19A8-4DE4-933D-7D9D720434E9}" dt="2023-10-21T18:53:08.630" v="232" actId="478"/>
          <ac:spMkLst>
            <pc:docMk/>
            <pc:sldMk cId="2774478351" sldId="2142533566"/>
            <ac:spMk id="9" creationId="{CA2F1373-8995-C8D2-C695-809970FBCECB}"/>
          </ac:spMkLst>
        </pc:spChg>
        <pc:spChg chg="del">
          <ac:chgData name="Roumpis, Konstantinos" userId="6c72b8e3-3757-4137-ae4f-83d233c85c4b" providerId="ADAL" clId="{5706A0CD-19A8-4DE4-933D-7D9D720434E9}" dt="2023-10-21T18:53:08.630" v="232" actId="478"/>
          <ac:spMkLst>
            <pc:docMk/>
            <pc:sldMk cId="2774478351" sldId="2142533566"/>
            <ac:spMk id="10" creationId="{9CFD4B71-55C0-7D97-CC11-7B6653675379}"/>
          </ac:spMkLst>
        </pc:spChg>
        <pc:spChg chg="add mod">
          <ac:chgData name="Roumpis, Konstantinos" userId="6c72b8e3-3757-4137-ae4f-83d233c85c4b" providerId="ADAL" clId="{5706A0CD-19A8-4DE4-933D-7D9D720434E9}" dt="2023-10-21T18:56:21.890" v="572" actId="20577"/>
          <ac:spMkLst>
            <pc:docMk/>
            <pc:sldMk cId="2774478351" sldId="2142533566"/>
            <ac:spMk id="11" creationId="{0B744EFA-3E0C-6E2F-47CA-44312E842476}"/>
          </ac:spMkLst>
        </pc:spChg>
        <pc:spChg chg="del">
          <ac:chgData name="Roumpis, Konstantinos" userId="6c72b8e3-3757-4137-ae4f-83d233c85c4b" providerId="ADAL" clId="{5706A0CD-19A8-4DE4-933D-7D9D720434E9}" dt="2023-10-21T18:53:08.630" v="232" actId="478"/>
          <ac:spMkLst>
            <pc:docMk/>
            <pc:sldMk cId="2774478351" sldId="2142533566"/>
            <ac:spMk id="12" creationId="{0208C378-2B1A-2082-591A-C0CB3859A004}"/>
          </ac:spMkLst>
        </pc:spChg>
        <pc:spChg chg="del">
          <ac:chgData name="Roumpis, Konstantinos" userId="6c72b8e3-3757-4137-ae4f-83d233c85c4b" providerId="ADAL" clId="{5706A0CD-19A8-4DE4-933D-7D9D720434E9}" dt="2023-10-21T18:53:08.630" v="232" actId="478"/>
          <ac:spMkLst>
            <pc:docMk/>
            <pc:sldMk cId="2774478351" sldId="2142533566"/>
            <ac:spMk id="14" creationId="{4EFE0FE4-6424-F9E8-689B-23C3F4CF2085}"/>
          </ac:spMkLst>
        </pc:spChg>
        <pc:spChg chg="del">
          <ac:chgData name="Roumpis, Konstantinos" userId="6c72b8e3-3757-4137-ae4f-83d233c85c4b" providerId="ADAL" clId="{5706A0CD-19A8-4DE4-933D-7D9D720434E9}" dt="2023-10-21T18:53:08.630" v="232" actId="478"/>
          <ac:spMkLst>
            <pc:docMk/>
            <pc:sldMk cId="2774478351" sldId="2142533566"/>
            <ac:spMk id="16" creationId="{5387C8C9-6595-BFBD-BAE3-C23AB1E54302}"/>
          </ac:spMkLst>
        </pc:spChg>
        <pc:spChg chg="del">
          <ac:chgData name="Roumpis, Konstantinos" userId="6c72b8e3-3757-4137-ae4f-83d233c85c4b" providerId="ADAL" clId="{5706A0CD-19A8-4DE4-933D-7D9D720434E9}" dt="2023-10-21T18:53:08.630" v="232" actId="478"/>
          <ac:spMkLst>
            <pc:docMk/>
            <pc:sldMk cId="2774478351" sldId="2142533566"/>
            <ac:spMk id="17" creationId="{AC9C9265-C386-D6BA-11A7-DD70C88BB988}"/>
          </ac:spMkLst>
        </pc:spChg>
        <pc:spChg chg="del">
          <ac:chgData name="Roumpis, Konstantinos" userId="6c72b8e3-3757-4137-ae4f-83d233c85c4b" providerId="ADAL" clId="{5706A0CD-19A8-4DE4-933D-7D9D720434E9}" dt="2023-10-21T18:53:08.630" v="232" actId="478"/>
          <ac:spMkLst>
            <pc:docMk/>
            <pc:sldMk cId="2774478351" sldId="2142533566"/>
            <ac:spMk id="22" creationId="{D9743541-6F05-4DE2-5BD1-421FA91090BB}"/>
          </ac:spMkLst>
        </pc:spChg>
        <pc:spChg chg="del">
          <ac:chgData name="Roumpis, Konstantinos" userId="6c72b8e3-3757-4137-ae4f-83d233c85c4b" providerId="ADAL" clId="{5706A0CD-19A8-4DE4-933D-7D9D720434E9}" dt="2023-10-21T18:53:08.630" v="232" actId="478"/>
          <ac:spMkLst>
            <pc:docMk/>
            <pc:sldMk cId="2774478351" sldId="2142533566"/>
            <ac:spMk id="23" creationId="{5168FC24-39B6-4865-58E7-FAA789791F58}"/>
          </ac:spMkLst>
        </pc:spChg>
        <pc:spChg chg="del">
          <ac:chgData name="Roumpis, Konstantinos" userId="6c72b8e3-3757-4137-ae4f-83d233c85c4b" providerId="ADAL" clId="{5706A0CD-19A8-4DE4-933D-7D9D720434E9}" dt="2023-10-21T18:53:08.630" v="232" actId="478"/>
          <ac:spMkLst>
            <pc:docMk/>
            <pc:sldMk cId="2774478351" sldId="2142533566"/>
            <ac:spMk id="24" creationId="{0C86606E-46E8-3F81-21E7-26FA329FC6B0}"/>
          </ac:spMkLst>
        </pc:spChg>
        <pc:spChg chg="add mod">
          <ac:chgData name="Roumpis, Konstantinos" userId="6c72b8e3-3757-4137-ae4f-83d233c85c4b" providerId="ADAL" clId="{5706A0CD-19A8-4DE4-933D-7D9D720434E9}" dt="2023-10-21T18:56:39.938" v="640" actId="20577"/>
          <ac:spMkLst>
            <pc:docMk/>
            <pc:sldMk cId="2774478351" sldId="2142533566"/>
            <ac:spMk id="25" creationId="{A0F7FD9F-C293-02E9-0F5C-D2E490C10F63}"/>
          </ac:spMkLst>
        </pc:spChg>
        <pc:spChg chg="add mod">
          <ac:chgData name="Roumpis, Konstantinos" userId="6c72b8e3-3757-4137-ae4f-83d233c85c4b" providerId="ADAL" clId="{5706A0CD-19A8-4DE4-933D-7D9D720434E9}" dt="2023-10-21T18:53:30.324" v="237" actId="1076"/>
          <ac:spMkLst>
            <pc:docMk/>
            <pc:sldMk cId="2774478351" sldId="2142533566"/>
            <ac:spMk id="26" creationId="{54DEFADC-D883-6190-4118-239C6C69F8B0}"/>
          </ac:spMkLst>
        </pc:spChg>
        <pc:spChg chg="add mod">
          <ac:chgData name="Roumpis, Konstantinos" userId="6c72b8e3-3757-4137-ae4f-83d233c85c4b" providerId="ADAL" clId="{5706A0CD-19A8-4DE4-933D-7D9D720434E9}" dt="2023-10-21T18:53:30.324" v="237" actId="1076"/>
          <ac:spMkLst>
            <pc:docMk/>
            <pc:sldMk cId="2774478351" sldId="2142533566"/>
            <ac:spMk id="27" creationId="{44CCD87B-F45C-8CB3-B255-49A9CCE507C8}"/>
          </ac:spMkLst>
        </pc:spChg>
        <pc:spChg chg="add mod">
          <ac:chgData name="Roumpis, Konstantinos" userId="6c72b8e3-3757-4137-ae4f-83d233c85c4b" providerId="ADAL" clId="{5706A0CD-19A8-4DE4-933D-7D9D720434E9}" dt="2023-10-21T18:53:30.324" v="237" actId="1076"/>
          <ac:spMkLst>
            <pc:docMk/>
            <pc:sldMk cId="2774478351" sldId="2142533566"/>
            <ac:spMk id="28" creationId="{FB4425B8-628E-7739-959F-71B15CEE9546}"/>
          </ac:spMkLst>
        </pc:spChg>
        <pc:spChg chg="add mod">
          <ac:chgData name="Roumpis, Konstantinos" userId="6c72b8e3-3757-4137-ae4f-83d233c85c4b" providerId="ADAL" clId="{5706A0CD-19A8-4DE4-933D-7D9D720434E9}" dt="2023-10-21T18:53:30.324" v="237" actId="1076"/>
          <ac:spMkLst>
            <pc:docMk/>
            <pc:sldMk cId="2774478351" sldId="2142533566"/>
            <ac:spMk id="29" creationId="{FEE7B65E-6A60-155A-4995-9E84395995B5}"/>
          </ac:spMkLst>
        </pc:spChg>
        <pc:spChg chg="add mod">
          <ac:chgData name="Roumpis, Konstantinos" userId="6c72b8e3-3757-4137-ae4f-83d233c85c4b" providerId="ADAL" clId="{5706A0CD-19A8-4DE4-933D-7D9D720434E9}" dt="2023-10-21T18:53:30.324" v="237" actId="1076"/>
          <ac:spMkLst>
            <pc:docMk/>
            <pc:sldMk cId="2774478351" sldId="2142533566"/>
            <ac:spMk id="30" creationId="{7D62F82B-5150-8CA7-F57D-A6FBD2B85C5F}"/>
          </ac:spMkLst>
        </pc:spChg>
        <pc:spChg chg="add mod">
          <ac:chgData name="Roumpis, Konstantinos" userId="6c72b8e3-3757-4137-ae4f-83d233c85c4b" providerId="ADAL" clId="{5706A0CD-19A8-4DE4-933D-7D9D720434E9}" dt="2023-10-21T18:53:30.324" v="237" actId="1076"/>
          <ac:spMkLst>
            <pc:docMk/>
            <pc:sldMk cId="2774478351" sldId="2142533566"/>
            <ac:spMk id="31" creationId="{85A0656A-204A-0227-26D4-29880AD5B20E}"/>
          </ac:spMkLst>
        </pc:spChg>
        <pc:spChg chg="add mod">
          <ac:chgData name="Roumpis, Konstantinos" userId="6c72b8e3-3757-4137-ae4f-83d233c85c4b" providerId="ADAL" clId="{5706A0CD-19A8-4DE4-933D-7D9D720434E9}" dt="2023-10-21T18:53:30.324" v="237" actId="1076"/>
          <ac:spMkLst>
            <pc:docMk/>
            <pc:sldMk cId="2774478351" sldId="2142533566"/>
            <ac:spMk id="32" creationId="{146288F7-70BD-C374-DF04-48C42AF8AD08}"/>
          </ac:spMkLst>
        </pc:spChg>
        <pc:spChg chg="add mod">
          <ac:chgData name="Roumpis, Konstantinos" userId="6c72b8e3-3757-4137-ae4f-83d233c85c4b" providerId="ADAL" clId="{5706A0CD-19A8-4DE4-933D-7D9D720434E9}" dt="2023-10-21T18:53:30.324" v="237" actId="1076"/>
          <ac:spMkLst>
            <pc:docMk/>
            <pc:sldMk cId="2774478351" sldId="2142533566"/>
            <ac:spMk id="33" creationId="{4B2B30E1-F160-547F-A433-9C9C6C2D4979}"/>
          </ac:spMkLst>
        </pc:spChg>
        <pc:spChg chg="add mod">
          <ac:chgData name="Roumpis, Konstantinos" userId="6c72b8e3-3757-4137-ae4f-83d233c85c4b" providerId="ADAL" clId="{5706A0CD-19A8-4DE4-933D-7D9D720434E9}" dt="2023-10-21T18:53:30.324" v="237" actId="1076"/>
          <ac:spMkLst>
            <pc:docMk/>
            <pc:sldMk cId="2774478351" sldId="2142533566"/>
            <ac:spMk id="34" creationId="{AAA1BEE1-FA19-1563-ECF6-13A531D2F6F3}"/>
          </ac:spMkLst>
        </pc:spChg>
        <pc:spChg chg="add mod">
          <ac:chgData name="Roumpis, Konstantinos" userId="6c72b8e3-3757-4137-ae4f-83d233c85c4b" providerId="ADAL" clId="{5706A0CD-19A8-4DE4-933D-7D9D720434E9}" dt="2023-10-21T18:53:30.324" v="237" actId="1076"/>
          <ac:spMkLst>
            <pc:docMk/>
            <pc:sldMk cId="2774478351" sldId="2142533566"/>
            <ac:spMk id="35" creationId="{516FC966-77F1-93A0-18F1-71DF47C76442}"/>
          </ac:spMkLst>
        </pc:spChg>
        <pc:spChg chg="add mod">
          <ac:chgData name="Roumpis, Konstantinos" userId="6c72b8e3-3757-4137-ae4f-83d233c85c4b" providerId="ADAL" clId="{5706A0CD-19A8-4DE4-933D-7D9D720434E9}" dt="2023-10-21T18:53:30.324" v="237" actId="1076"/>
          <ac:spMkLst>
            <pc:docMk/>
            <pc:sldMk cId="2774478351" sldId="2142533566"/>
            <ac:spMk id="36" creationId="{85F342EF-FD19-1F66-63B6-B719F177387C}"/>
          </ac:spMkLst>
        </pc:spChg>
        <pc:spChg chg="add mod">
          <ac:chgData name="Roumpis, Konstantinos" userId="6c72b8e3-3757-4137-ae4f-83d233c85c4b" providerId="ADAL" clId="{5706A0CD-19A8-4DE4-933D-7D9D720434E9}" dt="2023-10-21T18:53:30.324" v="237" actId="1076"/>
          <ac:spMkLst>
            <pc:docMk/>
            <pc:sldMk cId="2774478351" sldId="2142533566"/>
            <ac:spMk id="37" creationId="{BD4C08AF-9572-EC38-688C-7352CF1596EB}"/>
          </ac:spMkLst>
        </pc:spChg>
        <pc:spChg chg="add mod">
          <ac:chgData name="Roumpis, Konstantinos" userId="6c72b8e3-3757-4137-ae4f-83d233c85c4b" providerId="ADAL" clId="{5706A0CD-19A8-4DE4-933D-7D9D720434E9}" dt="2023-10-21T18:53:30.324" v="237" actId="1076"/>
          <ac:spMkLst>
            <pc:docMk/>
            <pc:sldMk cId="2774478351" sldId="2142533566"/>
            <ac:spMk id="38" creationId="{A4D9D3A4-0FF7-0DAF-4341-AD45F066A696}"/>
          </ac:spMkLst>
        </pc:spChg>
        <pc:spChg chg="add mod">
          <ac:chgData name="Roumpis, Konstantinos" userId="6c72b8e3-3757-4137-ae4f-83d233c85c4b" providerId="ADAL" clId="{5706A0CD-19A8-4DE4-933D-7D9D720434E9}" dt="2023-10-21T18:54:46.332" v="379" actId="20577"/>
          <ac:spMkLst>
            <pc:docMk/>
            <pc:sldMk cId="2774478351" sldId="2142533566"/>
            <ac:spMk id="39" creationId="{F7BA4A4C-738D-8184-E989-81F53EC1E462}"/>
          </ac:spMkLst>
        </pc:spChg>
        <pc:spChg chg="add mod">
          <ac:chgData name="Roumpis, Konstantinos" userId="6c72b8e3-3757-4137-ae4f-83d233c85c4b" providerId="ADAL" clId="{5706A0CD-19A8-4DE4-933D-7D9D720434E9}" dt="2023-10-21T18:59:43.678" v="771" actId="20577"/>
          <ac:spMkLst>
            <pc:docMk/>
            <pc:sldMk cId="2774478351" sldId="2142533566"/>
            <ac:spMk id="40" creationId="{B8FE1CF0-67AA-1A6F-2430-3816E4FB1995}"/>
          </ac:spMkLst>
        </pc:spChg>
        <pc:spChg chg="add mod">
          <ac:chgData name="Roumpis, Konstantinos" userId="6c72b8e3-3757-4137-ae4f-83d233c85c4b" providerId="ADAL" clId="{5706A0CD-19A8-4DE4-933D-7D9D720434E9}" dt="2023-10-21T18:55:47.079" v="486" actId="1076"/>
          <ac:spMkLst>
            <pc:docMk/>
            <pc:sldMk cId="2774478351" sldId="2142533566"/>
            <ac:spMk id="41" creationId="{B35DB066-0F61-90BF-E5DB-41E91833D692}"/>
          </ac:spMkLst>
        </pc:spChg>
        <pc:spChg chg="add mod">
          <ac:chgData name="Roumpis, Konstantinos" userId="6c72b8e3-3757-4137-ae4f-83d233c85c4b" providerId="ADAL" clId="{5706A0CD-19A8-4DE4-933D-7D9D720434E9}" dt="2023-10-21T18:56:01.699" v="541" actId="20577"/>
          <ac:spMkLst>
            <pc:docMk/>
            <pc:sldMk cId="2774478351" sldId="2142533566"/>
            <ac:spMk id="42" creationId="{26AC1331-3A83-0784-3DC6-FF615D3B16A0}"/>
          </ac:spMkLst>
        </pc:spChg>
        <pc:spChg chg="add mod">
          <ac:chgData name="Roumpis, Konstantinos" userId="6c72b8e3-3757-4137-ae4f-83d233c85c4b" providerId="ADAL" clId="{5706A0CD-19A8-4DE4-933D-7D9D720434E9}" dt="2023-10-21T18:55:00.339" v="388" actId="20577"/>
          <ac:spMkLst>
            <pc:docMk/>
            <pc:sldMk cId="2774478351" sldId="2142533566"/>
            <ac:spMk id="43" creationId="{55A5D5D4-2703-40A4-715B-D9F87BA3CFEA}"/>
          </ac:spMkLst>
        </pc:spChg>
        <pc:spChg chg="add mod">
          <ac:chgData name="Roumpis, Konstantinos" userId="6c72b8e3-3757-4137-ae4f-83d233c85c4b" providerId="ADAL" clId="{5706A0CD-19A8-4DE4-933D-7D9D720434E9}" dt="2023-10-21T18:55:22.052" v="443" actId="20577"/>
          <ac:spMkLst>
            <pc:docMk/>
            <pc:sldMk cId="2774478351" sldId="2142533566"/>
            <ac:spMk id="44" creationId="{075AC517-D8DA-6F9E-AC80-B69E49B40296}"/>
          </ac:spMkLst>
        </pc:spChg>
        <pc:spChg chg="add mod">
          <ac:chgData name="Roumpis, Konstantinos" userId="6c72b8e3-3757-4137-ae4f-83d233c85c4b" providerId="ADAL" clId="{5706A0CD-19A8-4DE4-933D-7D9D720434E9}" dt="2023-10-21T18:54:23.089" v="305" actId="20577"/>
          <ac:spMkLst>
            <pc:docMk/>
            <pc:sldMk cId="2774478351" sldId="2142533566"/>
            <ac:spMk id="45" creationId="{589C60EA-74E9-2855-D71C-BCD5DF8DC76E}"/>
          </ac:spMkLst>
        </pc:spChg>
        <pc:spChg chg="add mod">
          <ac:chgData name="Roumpis, Konstantinos" userId="6c72b8e3-3757-4137-ae4f-83d233c85c4b" providerId="ADAL" clId="{5706A0CD-19A8-4DE4-933D-7D9D720434E9}" dt="2023-10-21T18:54:35.007" v="339" actId="20577"/>
          <ac:spMkLst>
            <pc:docMk/>
            <pc:sldMk cId="2774478351" sldId="2142533566"/>
            <ac:spMk id="46" creationId="{EC3EC547-44B8-DD89-57B0-1FC4F85B3FB7}"/>
          </ac:spMkLst>
        </pc:spChg>
        <pc:spChg chg="add mod">
          <ac:chgData name="Roumpis, Konstantinos" userId="6c72b8e3-3757-4137-ae4f-83d233c85c4b" providerId="ADAL" clId="{5706A0CD-19A8-4DE4-933D-7D9D720434E9}" dt="2023-10-21T18:53:44.149" v="240" actId="20577"/>
          <ac:spMkLst>
            <pc:docMk/>
            <pc:sldMk cId="2774478351" sldId="2142533566"/>
            <ac:spMk id="47" creationId="{527BCA6A-CEA7-87B2-2080-9FEAA8AFD519}"/>
          </ac:spMkLst>
        </pc:spChg>
        <pc:spChg chg="add mod">
          <ac:chgData name="Roumpis, Konstantinos" userId="6c72b8e3-3757-4137-ae4f-83d233c85c4b" providerId="ADAL" clId="{5706A0CD-19A8-4DE4-933D-7D9D720434E9}" dt="2023-10-21T18:54:03.952" v="285" actId="20577"/>
          <ac:spMkLst>
            <pc:docMk/>
            <pc:sldMk cId="2774478351" sldId="2142533566"/>
            <ac:spMk id="48" creationId="{628D7B63-5F1C-4E7E-E28C-B5189C6EA030}"/>
          </ac:spMkLst>
        </pc:spChg>
        <pc:grpChg chg="del">
          <ac:chgData name="Roumpis, Konstantinos" userId="6c72b8e3-3757-4137-ae4f-83d233c85c4b" providerId="ADAL" clId="{5706A0CD-19A8-4DE4-933D-7D9D720434E9}" dt="2023-10-21T18:53:08.630" v="232" actId="478"/>
          <ac:grpSpMkLst>
            <pc:docMk/>
            <pc:sldMk cId="2774478351" sldId="2142533566"/>
            <ac:grpSpMk id="18" creationId="{BD6D95DD-BBD4-7461-7F1D-00D4D9B34E84}"/>
          </ac:grpSpMkLst>
        </pc:grpChg>
        <pc:picChg chg="del">
          <ac:chgData name="Roumpis, Konstantinos" userId="6c72b8e3-3757-4137-ae4f-83d233c85c4b" providerId="ADAL" clId="{5706A0CD-19A8-4DE4-933D-7D9D720434E9}" dt="2023-10-21T18:53:08.630" v="232" actId="478"/>
          <ac:picMkLst>
            <pc:docMk/>
            <pc:sldMk cId="2774478351" sldId="2142533566"/>
            <ac:picMk id="5" creationId="{E6378AA7-9E81-1A51-8F9A-848563428B00}"/>
          </ac:picMkLst>
        </pc:picChg>
        <pc:picChg chg="del">
          <ac:chgData name="Roumpis, Konstantinos" userId="6c72b8e3-3757-4137-ae4f-83d233c85c4b" providerId="ADAL" clId="{5706A0CD-19A8-4DE4-933D-7D9D720434E9}" dt="2023-10-21T18:53:08.630" v="232" actId="478"/>
          <ac:picMkLst>
            <pc:docMk/>
            <pc:sldMk cId="2774478351" sldId="2142533566"/>
            <ac:picMk id="6" creationId="{CE66B370-2225-604F-F35F-1A3DD4BB29E5}"/>
          </ac:picMkLst>
        </pc:picChg>
        <pc:cxnChg chg="del">
          <ac:chgData name="Roumpis, Konstantinos" userId="6c72b8e3-3757-4137-ae4f-83d233c85c4b" providerId="ADAL" clId="{5706A0CD-19A8-4DE4-933D-7D9D720434E9}" dt="2023-10-21T18:53:08.630" v="232" actId="478"/>
          <ac:cxnSpMkLst>
            <pc:docMk/>
            <pc:sldMk cId="2774478351" sldId="2142533566"/>
            <ac:cxnSpMk id="13" creationId="{ECBB3AD3-254B-8510-E703-18D95D741FE2}"/>
          </ac:cxnSpMkLst>
        </pc:cxnChg>
        <pc:cxnChg chg="del">
          <ac:chgData name="Roumpis, Konstantinos" userId="6c72b8e3-3757-4137-ae4f-83d233c85c4b" providerId="ADAL" clId="{5706A0CD-19A8-4DE4-933D-7D9D720434E9}" dt="2023-10-21T18:53:08.630" v="232" actId="478"/>
          <ac:cxnSpMkLst>
            <pc:docMk/>
            <pc:sldMk cId="2774478351" sldId="2142533566"/>
            <ac:cxnSpMk id="15" creationId="{2F2FF7AD-FCC0-22D5-E29E-6231BEB51531}"/>
          </ac:cxnSpMkLst>
        </pc:cxnChg>
      </pc:sldChg>
      <pc:sldChg chg="addSp delSp modSp add mod">
        <pc:chgData name="Roumpis, Konstantinos" userId="6c72b8e3-3757-4137-ae4f-83d233c85c4b" providerId="ADAL" clId="{5706A0CD-19A8-4DE4-933D-7D9D720434E9}" dt="2023-10-21T19:13:12.747" v="1311" actId="20577"/>
        <pc:sldMkLst>
          <pc:docMk/>
          <pc:sldMk cId="2778347697" sldId="2142533567"/>
        </pc:sldMkLst>
        <pc:spChg chg="add mod">
          <ac:chgData name="Roumpis, Konstantinos" userId="6c72b8e3-3757-4137-ae4f-83d233c85c4b" providerId="ADAL" clId="{5706A0CD-19A8-4DE4-933D-7D9D720434E9}" dt="2023-10-21T19:12:07.431" v="1297"/>
          <ac:spMkLst>
            <pc:docMk/>
            <pc:sldMk cId="2778347697" sldId="2142533567"/>
            <ac:spMk id="3" creationId="{B688713A-10E7-C651-B465-9BE8BF66B488}"/>
          </ac:spMkLst>
        </pc:spChg>
        <pc:spChg chg="add mod">
          <ac:chgData name="Roumpis, Konstantinos" userId="6c72b8e3-3757-4137-ae4f-83d233c85c4b" providerId="ADAL" clId="{5706A0CD-19A8-4DE4-933D-7D9D720434E9}" dt="2023-10-21T19:10:58.322" v="1275"/>
          <ac:spMkLst>
            <pc:docMk/>
            <pc:sldMk cId="2778347697" sldId="2142533567"/>
            <ac:spMk id="4" creationId="{6CA092F3-9A62-6195-2BD6-6BD825181174}"/>
          </ac:spMkLst>
        </pc:spChg>
        <pc:spChg chg="mod">
          <ac:chgData name="Roumpis, Konstantinos" userId="6c72b8e3-3757-4137-ae4f-83d233c85c4b" providerId="ADAL" clId="{5706A0CD-19A8-4DE4-933D-7D9D720434E9}" dt="2023-10-21T19:09:19.221" v="1273" actId="20577"/>
          <ac:spMkLst>
            <pc:docMk/>
            <pc:sldMk cId="2778347697" sldId="2142533567"/>
            <ac:spMk id="6" creationId="{96259DBA-53C1-BB1A-89A2-DD72600505CF}"/>
          </ac:spMkLst>
        </pc:spChg>
        <pc:spChg chg="del">
          <ac:chgData name="Roumpis, Konstantinos" userId="6c72b8e3-3757-4137-ae4f-83d233c85c4b" providerId="ADAL" clId="{5706A0CD-19A8-4DE4-933D-7D9D720434E9}" dt="2023-10-21T19:09:24.086" v="1274" actId="478"/>
          <ac:spMkLst>
            <pc:docMk/>
            <pc:sldMk cId="2778347697" sldId="2142533567"/>
            <ac:spMk id="20" creationId="{871FEAC2-60BC-18A9-7733-D9FAC16F8D3A}"/>
          </ac:spMkLst>
        </pc:spChg>
        <pc:spChg chg="del">
          <ac:chgData name="Roumpis, Konstantinos" userId="6c72b8e3-3757-4137-ae4f-83d233c85c4b" providerId="ADAL" clId="{5706A0CD-19A8-4DE4-933D-7D9D720434E9}" dt="2023-10-21T19:09:24.086" v="1274" actId="478"/>
          <ac:spMkLst>
            <pc:docMk/>
            <pc:sldMk cId="2778347697" sldId="2142533567"/>
            <ac:spMk id="21" creationId="{A118576D-01EC-8337-FD88-0C51E18D2450}"/>
          </ac:spMkLst>
        </pc:spChg>
        <pc:spChg chg="add del mod">
          <ac:chgData name="Roumpis, Konstantinos" userId="6c72b8e3-3757-4137-ae4f-83d233c85c4b" providerId="ADAL" clId="{5706A0CD-19A8-4DE4-933D-7D9D720434E9}" dt="2023-10-21T19:11:23.384" v="1280" actId="21"/>
          <ac:spMkLst>
            <pc:docMk/>
            <pc:sldMk cId="2778347697" sldId="2142533567"/>
            <ac:spMk id="22" creationId="{F3904C4B-AE62-879D-F50E-004FEA36C97B}"/>
          </ac:spMkLst>
        </pc:spChg>
        <pc:spChg chg="add del mod">
          <ac:chgData name="Roumpis, Konstantinos" userId="6c72b8e3-3757-4137-ae4f-83d233c85c4b" providerId="ADAL" clId="{5706A0CD-19A8-4DE4-933D-7D9D720434E9}" dt="2023-10-21T19:11:09.970" v="1276" actId="478"/>
          <ac:spMkLst>
            <pc:docMk/>
            <pc:sldMk cId="2778347697" sldId="2142533567"/>
            <ac:spMk id="23" creationId="{678DACC4-2834-68A4-D2AF-08137A2CE580}"/>
          </ac:spMkLst>
        </pc:spChg>
        <pc:spChg chg="add del mod">
          <ac:chgData name="Roumpis, Konstantinos" userId="6c72b8e3-3757-4137-ae4f-83d233c85c4b" providerId="ADAL" clId="{5706A0CD-19A8-4DE4-933D-7D9D720434E9}" dt="2023-10-21T19:11:13.370" v="1277" actId="478"/>
          <ac:spMkLst>
            <pc:docMk/>
            <pc:sldMk cId="2778347697" sldId="2142533567"/>
            <ac:spMk id="24" creationId="{5E00C4B2-9E01-02AF-7079-F5FA241AFF59}"/>
          </ac:spMkLst>
        </pc:spChg>
        <pc:spChg chg="add del mod">
          <ac:chgData name="Roumpis, Konstantinos" userId="6c72b8e3-3757-4137-ae4f-83d233c85c4b" providerId="ADAL" clId="{5706A0CD-19A8-4DE4-933D-7D9D720434E9}" dt="2023-10-21T19:11:23.384" v="1280" actId="21"/>
          <ac:spMkLst>
            <pc:docMk/>
            <pc:sldMk cId="2778347697" sldId="2142533567"/>
            <ac:spMk id="25" creationId="{24371FAF-BAAA-E723-B378-DB40A187E4B4}"/>
          </ac:spMkLst>
        </pc:spChg>
        <pc:spChg chg="add mod">
          <ac:chgData name="Roumpis, Konstantinos" userId="6c72b8e3-3757-4137-ae4f-83d233c85c4b" providerId="ADAL" clId="{5706A0CD-19A8-4DE4-933D-7D9D720434E9}" dt="2023-10-21T19:13:09.059" v="1309" actId="1076"/>
          <ac:spMkLst>
            <pc:docMk/>
            <pc:sldMk cId="2778347697" sldId="2142533567"/>
            <ac:spMk id="26" creationId="{C11F137D-10A8-B941-06F0-5CE1C558810F}"/>
          </ac:spMkLst>
        </pc:spChg>
        <pc:spChg chg="add mod">
          <ac:chgData name="Roumpis, Konstantinos" userId="6c72b8e3-3757-4137-ae4f-83d233c85c4b" providerId="ADAL" clId="{5706A0CD-19A8-4DE4-933D-7D9D720434E9}" dt="2023-10-21T19:13:12.747" v="1311" actId="20577"/>
          <ac:spMkLst>
            <pc:docMk/>
            <pc:sldMk cId="2778347697" sldId="2142533567"/>
            <ac:spMk id="27" creationId="{34E0B673-69CB-F6BE-D04C-31763C1699E8}"/>
          </ac:spMkLst>
        </pc:spChg>
        <pc:grpChg chg="del">
          <ac:chgData name="Roumpis, Konstantinos" userId="6c72b8e3-3757-4137-ae4f-83d233c85c4b" providerId="ADAL" clId="{5706A0CD-19A8-4DE4-933D-7D9D720434E9}" dt="2023-10-21T19:09:24.086" v="1274" actId="478"/>
          <ac:grpSpMkLst>
            <pc:docMk/>
            <pc:sldMk cId="2778347697" sldId="2142533567"/>
            <ac:grpSpMk id="7" creationId="{3E3B334F-9C6A-339C-EBFE-3EFF2B626EF6}"/>
          </ac:grpSpMkLst>
        </pc:grpChg>
        <pc:picChg chg="add mod">
          <ac:chgData name="Roumpis, Konstantinos" userId="6c72b8e3-3757-4137-ae4f-83d233c85c4b" providerId="ADAL" clId="{5706A0CD-19A8-4DE4-933D-7D9D720434E9}" dt="2023-10-21T19:11:18.389" v="1279" actId="1076"/>
          <ac:picMkLst>
            <pc:docMk/>
            <pc:sldMk cId="2778347697" sldId="2142533567"/>
            <ac:picMk id="2" creationId="{AE3488BC-5B6F-63CD-A42F-9EA3A96AEB5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6D5B7C-5554-4AAF-966C-84595994076D}" type="datetimeFigureOut">
              <a:rPr lang="en-US" smtClean="0"/>
              <a:t>10/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E475C0-5C31-4DBD-8213-3803822EB726}" type="slidenum">
              <a:rPr lang="en-US" smtClean="0"/>
              <a:t>‹#›</a:t>
            </a:fld>
            <a:endParaRPr lang="en-US"/>
          </a:p>
        </p:txBody>
      </p:sp>
    </p:spTree>
    <p:extLst>
      <p:ext uri="{BB962C8B-B14F-4D97-AF65-F5344CB8AC3E}">
        <p14:creationId xmlns:p14="http://schemas.microsoft.com/office/powerpoint/2010/main" val="30421630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255756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a:pPr/>
              <a:t>2</a:t>
            </a:fld>
            <a:endParaRPr lang="en-US" dirty="0"/>
          </a:p>
        </p:txBody>
      </p:sp>
    </p:spTree>
    <p:extLst>
      <p:ext uri="{BB962C8B-B14F-4D97-AF65-F5344CB8AC3E}">
        <p14:creationId xmlns:p14="http://schemas.microsoft.com/office/powerpoint/2010/main" val="1036415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a:pPr/>
              <a:t>3</a:t>
            </a:fld>
            <a:endParaRPr lang="en-US" dirty="0"/>
          </a:p>
        </p:txBody>
      </p:sp>
    </p:spTree>
    <p:extLst>
      <p:ext uri="{BB962C8B-B14F-4D97-AF65-F5344CB8AC3E}">
        <p14:creationId xmlns:p14="http://schemas.microsoft.com/office/powerpoint/2010/main" val="13752082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a:pPr/>
              <a:t>4</a:t>
            </a:fld>
            <a:endParaRPr lang="en-US" dirty="0"/>
          </a:p>
        </p:txBody>
      </p:sp>
    </p:spTree>
    <p:extLst>
      <p:ext uri="{BB962C8B-B14F-4D97-AF65-F5344CB8AC3E}">
        <p14:creationId xmlns:p14="http://schemas.microsoft.com/office/powerpoint/2010/main" val="42021765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a:pPr/>
              <a:t>5</a:t>
            </a:fld>
            <a:endParaRPr lang="en-US" dirty="0"/>
          </a:p>
        </p:txBody>
      </p:sp>
    </p:spTree>
    <p:extLst>
      <p:ext uri="{BB962C8B-B14F-4D97-AF65-F5344CB8AC3E}">
        <p14:creationId xmlns:p14="http://schemas.microsoft.com/office/powerpoint/2010/main" val="879706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a:pPr/>
              <a:t>6</a:t>
            </a:fld>
            <a:endParaRPr lang="en-US" dirty="0"/>
          </a:p>
        </p:txBody>
      </p:sp>
    </p:spTree>
    <p:extLst>
      <p:ext uri="{BB962C8B-B14F-4D97-AF65-F5344CB8AC3E}">
        <p14:creationId xmlns:p14="http://schemas.microsoft.com/office/powerpoint/2010/main" val="3977386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fld id="{A559B68C-5915-4D23-A2C6-5B96549FD7A0}" type="slidenum">
              <a:rPr lang="en-US"/>
              <a:pPr/>
              <a:t>7</a:t>
            </a:fld>
            <a:endParaRPr lang="en-US" dirty="0"/>
          </a:p>
        </p:txBody>
      </p:sp>
    </p:spTree>
    <p:extLst>
      <p:ext uri="{BB962C8B-B14F-4D97-AF65-F5344CB8AC3E}">
        <p14:creationId xmlns:p14="http://schemas.microsoft.com/office/powerpoint/2010/main" val="2512901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a:pPr/>
              <a:t>8</a:t>
            </a:fld>
            <a:endParaRPr lang="en-US" dirty="0"/>
          </a:p>
        </p:txBody>
      </p:sp>
    </p:spTree>
    <p:extLst>
      <p:ext uri="{BB962C8B-B14F-4D97-AF65-F5344CB8AC3E}">
        <p14:creationId xmlns:p14="http://schemas.microsoft.com/office/powerpoint/2010/main" val="1562212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a:pPr/>
              <a:t>9</a:t>
            </a:fld>
            <a:endParaRPr lang="en-US" dirty="0"/>
          </a:p>
        </p:txBody>
      </p:sp>
    </p:spTree>
    <p:extLst>
      <p:ext uri="{BB962C8B-B14F-4D97-AF65-F5344CB8AC3E}">
        <p14:creationId xmlns:p14="http://schemas.microsoft.com/office/powerpoint/2010/main" val="2984761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8539235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20603312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4763945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47108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7370270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49947543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0977940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5055777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52201321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10574245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784910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234574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973114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3830127"/>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3830127"/>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6" name="Picture Placeholder 29"/>
          <p:cNvSpPr>
            <a:spLocks noGrp="1"/>
          </p:cNvSpPr>
          <p:nvPr>
            <p:ph type="pic" sz="quarter" idx="19" hasCustomPrompt="1"/>
          </p:nvPr>
        </p:nvSpPr>
        <p:spPr>
          <a:xfrm>
            <a:off x="4769491" y="383615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3830128"/>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1642567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19833771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6127846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0754233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978754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4726434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00448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440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1271225986"/>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0" name="Group 19">
            <a:extLst>
              <a:ext uri="{FF2B5EF4-FFF2-40B4-BE49-F238E27FC236}">
                <a16:creationId xmlns:a16="http://schemas.microsoft.com/office/drawing/2014/main" id="{DAA751F6-96CD-4D47-9334-26CB35377F81}"/>
              </a:ext>
            </a:extLst>
          </p:cNvPr>
          <p:cNvGrpSpPr/>
          <p:nvPr/>
        </p:nvGrpSpPr>
        <p:grpSpPr>
          <a:xfrm>
            <a:off x="503988" y="378000"/>
            <a:ext cx="2160000" cy="307976"/>
            <a:chOff x="398463" y="404813"/>
            <a:chExt cx="1627187" cy="307976"/>
          </a:xfrm>
          <a:solidFill>
            <a:schemeClr val="tx1"/>
          </a:solidFill>
        </p:grpSpPr>
        <p:sp>
          <p:nvSpPr>
            <p:cNvPr id="21" name="Oval 5">
              <a:extLst>
                <a:ext uri="{FF2B5EF4-FFF2-40B4-BE49-F238E27FC236}">
                  <a16:creationId xmlns:a16="http://schemas.microsoft.com/office/drawing/2014/main" id="{208AFD29-2473-4B74-B317-20817E37D163}"/>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2" name="Freeform 6">
              <a:extLst>
                <a:ext uri="{FF2B5EF4-FFF2-40B4-BE49-F238E27FC236}">
                  <a16:creationId xmlns:a16="http://schemas.microsoft.com/office/drawing/2014/main" id="{34A35AAC-FF34-4B4D-B2F4-E62F3556D17C}"/>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3" name="Rectangle 7">
              <a:extLst>
                <a:ext uri="{FF2B5EF4-FFF2-40B4-BE49-F238E27FC236}">
                  <a16:creationId xmlns:a16="http://schemas.microsoft.com/office/drawing/2014/main" id="{3A260268-5F2D-4ED9-BC62-469BD612FB9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4" name="Freeform 8">
              <a:extLst>
                <a:ext uri="{FF2B5EF4-FFF2-40B4-BE49-F238E27FC236}">
                  <a16:creationId xmlns:a16="http://schemas.microsoft.com/office/drawing/2014/main" id="{B89B9D2F-BC9E-4F1B-8627-B2EF4F0C6B1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5" name="Rectangle 9">
              <a:extLst>
                <a:ext uri="{FF2B5EF4-FFF2-40B4-BE49-F238E27FC236}">
                  <a16:creationId xmlns:a16="http://schemas.microsoft.com/office/drawing/2014/main" id="{2B0A675B-0F0F-403D-BC22-B4B8F272898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6" name="Rectangle 10">
              <a:extLst>
                <a:ext uri="{FF2B5EF4-FFF2-40B4-BE49-F238E27FC236}">
                  <a16:creationId xmlns:a16="http://schemas.microsoft.com/office/drawing/2014/main" id="{9471D3B0-20F4-47CE-8982-C04B5F3D910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7" name="Freeform 11">
              <a:extLst>
                <a:ext uri="{FF2B5EF4-FFF2-40B4-BE49-F238E27FC236}">
                  <a16:creationId xmlns:a16="http://schemas.microsoft.com/office/drawing/2014/main" id="{1A3CB533-5498-4F6B-BF48-FF0372CE9F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8" name="Freeform 12">
              <a:extLst>
                <a:ext uri="{FF2B5EF4-FFF2-40B4-BE49-F238E27FC236}">
                  <a16:creationId xmlns:a16="http://schemas.microsoft.com/office/drawing/2014/main" id="{3C454093-5492-4277-8415-5B9CB1FF980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9" name="Freeform 13">
              <a:extLst>
                <a:ext uri="{FF2B5EF4-FFF2-40B4-BE49-F238E27FC236}">
                  <a16:creationId xmlns:a16="http://schemas.microsoft.com/office/drawing/2014/main" id="{F749E689-4E6D-481F-99B3-D26F79BE399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30" name="Freeform 14">
              <a:extLst>
                <a:ext uri="{FF2B5EF4-FFF2-40B4-BE49-F238E27FC236}">
                  <a16:creationId xmlns:a16="http://schemas.microsoft.com/office/drawing/2014/main" id="{C9A105F6-34CE-4A24-8EB2-03938467557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195396690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dirty="0"/>
              <a:t>Advanced graphics timesaver</a:t>
            </a:r>
          </a:p>
          <a:p>
            <a:pPr lvl="0"/>
            <a:endParaRPr lang="en-US" dirty="0"/>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61129235"/>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849181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8787376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5187431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114811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178562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4071129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2"/>
            </p:custDataLst>
            <p:extLst>
              <p:ext uri="{D42A27DB-BD31-4B8C-83A1-F6EECF244321}">
                <p14:modId xmlns:p14="http://schemas.microsoft.com/office/powerpoint/2010/main" val="75063384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8433159"/>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3" r:id="rId28"/>
    <p:sldLayoutId id="2147483694" r:id="rId29"/>
    <p:sldLayoutId id="2147483696" r:id="rId30"/>
  </p:sldLayoutIdLst>
  <p:transition>
    <p:fade/>
  </p:transition>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bin"/><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notesSlide" Target="../notesSlides/notesSlide1.xml"/><Relationship Id="rId5" Type="http://schemas.openxmlformats.org/officeDocument/2006/relationships/slideLayout" Target="../slideLayouts/slideLayout29.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customXml" Target="../../customXml/item25.xml"/><Relationship Id="rId1" Type="http://schemas.openxmlformats.org/officeDocument/2006/relationships/customXml" Target="../../customXml/item24.xml"/><Relationship Id="rId5" Type="http://schemas.openxmlformats.org/officeDocument/2006/relationships/hyperlink" Target="http://www.deloitte.com/about" TargetMode="External"/><Relationship Id="rId4"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tmp"/><Relationship Id="rId2" Type="http://schemas.openxmlformats.org/officeDocument/2006/relationships/customXml" Target="../../customXml/item9.xml"/><Relationship Id="rId1" Type="http://schemas.openxmlformats.org/officeDocument/2006/relationships/customXml" Target="../../customXml/item8.xml"/><Relationship Id="rId6" Type="http://schemas.openxmlformats.org/officeDocument/2006/relationships/image" Target="../media/image4.png"/><Relationship Id="rId5" Type="http://schemas.openxmlformats.org/officeDocument/2006/relationships/notesSlide" Target="../notesSlides/notesSlide2.xml"/><Relationship Id="rId4" Type="http://schemas.openxmlformats.org/officeDocument/2006/relationships/slideLayout" Target="../slideLayouts/slideLayout27.xm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tmp"/><Relationship Id="rId2" Type="http://schemas.openxmlformats.org/officeDocument/2006/relationships/customXml" Target="../../customXml/item11.xml"/><Relationship Id="rId1" Type="http://schemas.openxmlformats.org/officeDocument/2006/relationships/customXml" Target="../../customXml/item10.xml"/><Relationship Id="rId6" Type="http://schemas.openxmlformats.org/officeDocument/2006/relationships/image" Target="../media/image4.png"/><Relationship Id="rId5" Type="http://schemas.openxmlformats.org/officeDocument/2006/relationships/notesSlide" Target="../notesSlides/notesSlide3.xml"/><Relationship Id="rId10" Type="http://schemas.openxmlformats.org/officeDocument/2006/relationships/image" Target="../media/image7.tmp"/><Relationship Id="rId4" Type="http://schemas.openxmlformats.org/officeDocument/2006/relationships/slideLayout" Target="../slideLayouts/slideLayout27.xml"/><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xml"/><Relationship Id="rId7" Type="http://schemas.openxmlformats.org/officeDocument/2006/relationships/image" Target="../media/image5.tmp"/><Relationship Id="rId2" Type="http://schemas.openxmlformats.org/officeDocument/2006/relationships/customXml" Target="../../customXml/item13.xml"/><Relationship Id="rId1" Type="http://schemas.openxmlformats.org/officeDocument/2006/relationships/customXml" Target="../../customXml/item12.xml"/><Relationship Id="rId6" Type="http://schemas.openxmlformats.org/officeDocument/2006/relationships/image" Target="../media/image4.png"/><Relationship Id="rId5" Type="http://schemas.openxmlformats.org/officeDocument/2006/relationships/notesSlide" Target="../notesSlides/notesSlide4.xml"/><Relationship Id="rId10" Type="http://schemas.openxmlformats.org/officeDocument/2006/relationships/image" Target="../media/image7.tmp"/><Relationship Id="rId4" Type="http://schemas.openxmlformats.org/officeDocument/2006/relationships/slideLayout" Target="../slideLayouts/slideLayout27.xml"/><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15.xml"/><Relationship Id="rId1" Type="http://schemas.openxmlformats.org/officeDocument/2006/relationships/customXml" Target="../../customXml/item14.xml"/><Relationship Id="rId6" Type="http://schemas.openxmlformats.org/officeDocument/2006/relationships/image" Target="../media/image5.tmp"/><Relationship Id="rId5" Type="http://schemas.openxmlformats.org/officeDocument/2006/relationships/image" Target="../media/image4.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tmp"/><Relationship Id="rId2" Type="http://schemas.openxmlformats.org/officeDocument/2006/relationships/customXml" Target="../../customXml/item17.xml"/><Relationship Id="rId1" Type="http://schemas.openxmlformats.org/officeDocument/2006/relationships/customXml" Target="../../customXml/item16.xml"/><Relationship Id="rId6" Type="http://schemas.openxmlformats.org/officeDocument/2006/relationships/image" Target="../media/image4.png"/><Relationship Id="rId5" Type="http://schemas.openxmlformats.org/officeDocument/2006/relationships/notesSlide" Target="../notesSlides/notesSlide6.xml"/><Relationship Id="rId4"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19.xml"/><Relationship Id="rId1" Type="http://schemas.openxmlformats.org/officeDocument/2006/relationships/customXml" Target="../../customXml/item18.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customXml" Target="../../customXml/item21.xml"/><Relationship Id="rId1" Type="http://schemas.openxmlformats.org/officeDocument/2006/relationships/customXml" Target="../../customXml/item20.xml"/><Relationship Id="rId5" Type="http://schemas.openxmlformats.org/officeDocument/2006/relationships/notesSlide" Target="../notesSlides/notesSlide8.xml"/><Relationship Id="rId4"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customXml" Target="../../customXml/item23.xml"/><Relationship Id="rId1" Type="http://schemas.openxmlformats.org/officeDocument/2006/relationships/customXml" Target="../../customXml/item22.xml"/><Relationship Id="rId6" Type="http://schemas.openxmlformats.org/officeDocument/2006/relationships/image" Target="../media/image8.jpeg"/><Relationship Id="rId5" Type="http://schemas.openxmlformats.org/officeDocument/2006/relationships/notesSlide" Target="../notesSlides/notesSlide9.xml"/><Relationship Id="rId4"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7"/>
          <a:srcRect/>
          <a:stretch/>
        </p:blipFill>
        <p:spPr>
          <a:xfrm>
            <a:off x="10694852" y="5659120"/>
            <a:ext cx="1198880" cy="1198880"/>
          </a:xfrm>
          <a:prstGeom prst="rect">
            <a:avLst/>
          </a:prstGeom>
        </p:spPr>
      </p:pic>
      <p:sp>
        <p:nvSpPr>
          <p:cNvPr id="9" name="Title 2">
            <a:extLst>
              <a:ext uri="{FF2B5EF4-FFF2-40B4-BE49-F238E27FC236}">
                <a16:creationId xmlns:a16="http://schemas.microsoft.com/office/drawing/2014/main" id="{0BB0C0D3-0E6F-764F-ADFD-A1A8DF9DCF8E}"/>
              </a:ext>
            </a:extLst>
          </p:cNvPr>
          <p:cNvSpPr txBox="1">
            <a:spLocks/>
          </p:cNvSpPr>
          <p:nvPr/>
        </p:nvSpPr>
        <p:spPr bwMode="gray">
          <a:xfrm>
            <a:off x="501650" y="5186207"/>
            <a:ext cx="5213349" cy="895983"/>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l-GR" sz="2800" dirty="0"/>
              <a:t>Φορολογικά ζητήματα από τη σύναψη </a:t>
            </a:r>
            <a:r>
              <a:rPr lang="en-US" sz="2800" dirty="0"/>
              <a:t>Corporate PPAs </a:t>
            </a:r>
            <a:r>
              <a:rPr lang="el-GR" sz="2800" dirty="0"/>
              <a:t>μεταξύ παραγωγών ενέργειας και καταναλωτών</a:t>
            </a:r>
            <a:br>
              <a:rPr lang="en-GB" sz="2800" dirty="0"/>
            </a:br>
            <a:r>
              <a:rPr lang="el-GR" sz="2800" dirty="0">
                <a:solidFill>
                  <a:schemeClr val="bg1"/>
                </a:solidFill>
              </a:rPr>
              <a:t>Κωνσταντίνος Ρουμπής, </a:t>
            </a:r>
            <a:r>
              <a:rPr lang="en-US" sz="2800" dirty="0">
                <a:solidFill>
                  <a:schemeClr val="bg1"/>
                </a:solidFill>
              </a:rPr>
              <a:t>Tax Partner Deloitte Business Solutions</a:t>
            </a:r>
            <a:endParaRPr lang="en-GB" sz="2800" dirty="0">
              <a:solidFill>
                <a:schemeClr val="bg1"/>
              </a:solidFill>
            </a:endParaRPr>
          </a:p>
        </p:txBody>
      </p:sp>
      <p:sp>
        <p:nvSpPr>
          <p:cNvPr id="10" name="Text Placeholder 4">
            <a:extLst>
              <a:ext uri="{FF2B5EF4-FFF2-40B4-BE49-F238E27FC236}">
                <a16:creationId xmlns:a16="http://schemas.microsoft.com/office/drawing/2014/main" id="{6E62AF7C-D11A-9D40-92E3-A706C56E95D6}"/>
              </a:ext>
            </a:extLst>
          </p:cNvPr>
          <p:cNvSpPr txBox="1">
            <a:spLocks/>
          </p:cNvSpPr>
          <p:nvPr/>
        </p:nvSpPr>
        <p:spPr>
          <a:xfrm>
            <a:off x="501651" y="6381750"/>
            <a:ext cx="4446269" cy="273050"/>
          </a:xfrm>
          <a:prstGeom prst="rect">
            <a:avLst/>
          </a:prstGeom>
        </p:spPr>
        <p:txBody>
          <a:bodyPr vert="horz" lIns="0" tIns="0" rIns="0" bIns="0" rtlCol="0" anchor="t">
            <a:noAutofit/>
          </a:bodyPr>
          <a:lstStyle>
            <a:lvl1pPr marL="0" indent="0" algn="l" defTabSz="6858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bg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l-GR" cap="all" dirty="0"/>
              <a:t>οκτωβριοσ 2022</a:t>
            </a:r>
            <a:endParaRPr lang="en-GB" cap="all" dirty="0"/>
          </a:p>
        </p:txBody>
      </p:sp>
      <p:pic>
        <p:nvPicPr>
          <p:cNvPr id="3" name="Picture 2">
            <a:extLst>
              <a:ext uri="{FF2B5EF4-FFF2-40B4-BE49-F238E27FC236}">
                <a16:creationId xmlns:a16="http://schemas.microsoft.com/office/drawing/2014/main" id="{0BDE605B-D788-4E71-A043-70CE844866D3}"/>
              </a:ext>
            </a:extLst>
          </p:cNvPr>
          <p:cNvPicPr>
            <a:picLocks noChangeAspect="1"/>
          </p:cNvPicPr>
          <p:nvPr>
            <p:custDataLst>
              <p:tags r:id="rId4"/>
            </p:custDataLst>
          </p:nvPr>
        </p:nvPicPr>
        <p:blipFill rotWithShape="1">
          <a:blip r:embed="rId8"/>
          <a:srcRect/>
          <a:stretch/>
        </p:blipFill>
        <p:spPr>
          <a:xfrm>
            <a:off x="6096000" y="858520"/>
            <a:ext cx="4800600" cy="4800600"/>
          </a:xfrm>
          <a:prstGeom prst="rect">
            <a:avLst/>
          </a:prstGeom>
        </p:spPr>
      </p:pic>
    </p:spTree>
    <p:custDataLst>
      <p:custData r:id="rId1"/>
      <p:custData r:id="rId2"/>
      <p:tags r:id="rId3"/>
    </p:custDataLst>
    <p:extLst>
      <p:ext uri="{BB962C8B-B14F-4D97-AF65-F5344CB8AC3E}">
        <p14:creationId xmlns:p14="http://schemas.microsoft.com/office/powerpoint/2010/main" val="148522317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6C1B41-02FD-584A-AC63-60E3A80FD66B}"/>
              </a:ext>
            </a:extLst>
          </p:cNvPr>
          <p:cNvSpPr>
            <a:spLocks noGrp="1"/>
          </p:cNvSpPr>
          <p:nvPr>
            <p:ph type="body" sz="quarter" idx="13"/>
          </p:nvPr>
        </p:nvSpPr>
        <p:spPr/>
        <p:txBody>
          <a:bodyPr/>
          <a:lstStyle/>
          <a:p>
            <a:r>
              <a:rPr lang="en-GB" sz="1050" dirty="0"/>
              <a:t> </a:t>
            </a:r>
          </a:p>
          <a:p>
            <a:r>
              <a:rPr lang="en-GB" sz="1050" dirty="0"/>
              <a:t>Deloitte refers to one or more of Deloitte </a:t>
            </a:r>
            <a:r>
              <a:rPr lang="en-GB" sz="1050" dirty="0" err="1"/>
              <a:t>Touche</a:t>
            </a:r>
            <a:r>
              <a:rPr lang="en-GB" sz="1050"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a:t>
            </a:r>
            <a:r>
              <a:rPr lang="en-GB" sz="1050" dirty="0">
                <a:hlinkClick r:id="rId5"/>
              </a:rPr>
              <a:t>www.deloitte.com/about</a:t>
            </a:r>
            <a:r>
              <a:rPr lang="en-GB" sz="1050" dirty="0"/>
              <a:t> to learn more.</a:t>
            </a:r>
          </a:p>
          <a:p>
            <a:endParaRPr lang="en-GB" sz="1050" dirty="0"/>
          </a:p>
          <a:p>
            <a:r>
              <a:rPr lang="en-GB" sz="1050" dirty="0"/>
              <a:t>© 202</a:t>
            </a:r>
            <a:r>
              <a:rPr lang="el-GR" sz="1050" dirty="0"/>
              <a:t>2</a:t>
            </a:r>
            <a:r>
              <a:rPr lang="en-GB" sz="1050" dirty="0"/>
              <a:t>. For information, contact Deloitte </a:t>
            </a:r>
            <a:r>
              <a:rPr lang="en-GB" sz="1050" dirty="0" err="1"/>
              <a:t>Touche</a:t>
            </a:r>
            <a:r>
              <a:rPr lang="en-GB" sz="1050" dirty="0"/>
              <a:t> Tohmatsu Limited.</a:t>
            </a:r>
          </a:p>
        </p:txBody>
      </p:sp>
    </p:spTree>
    <p:custDataLst>
      <p:custData r:id="rId1"/>
      <p:custData r:id="rId2"/>
      <p:tags r:id="rId3"/>
    </p:custDataLst>
    <p:extLst>
      <p:ext uri="{BB962C8B-B14F-4D97-AF65-F5344CB8AC3E}">
        <p14:creationId xmlns:p14="http://schemas.microsoft.com/office/powerpoint/2010/main" val="42177017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842B25E1-6131-FC3F-4C15-A06019024D08}"/>
              </a:ext>
            </a:extLst>
          </p:cNvPr>
          <p:cNvSpPr txBox="1">
            <a:spLocks/>
          </p:cNvSpPr>
          <p:nvPr/>
        </p:nvSpPr>
        <p:spPr>
          <a:xfrm>
            <a:off x="469903" y="736701"/>
            <a:ext cx="11252200" cy="75725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1219170"/>
            <a:r>
              <a:rPr lang="el-GR" sz="1800">
                <a:latin typeface="Calibri" panose="020F0502020204030204" pitchFamily="34" charset="0"/>
                <a:cs typeface="Calibri" panose="020F0502020204030204" pitchFamily="34" charset="0"/>
              </a:rPr>
              <a:t>Γενικά σχόλια</a:t>
            </a:r>
            <a:endParaRPr lang="en-US" sz="1800" dirty="0">
              <a:latin typeface="Calibri" panose="020F0502020204030204" pitchFamily="34" charset="0"/>
              <a:cs typeface="Calibri" panose="020F0502020204030204" pitchFamily="34" charset="0"/>
            </a:endParaRPr>
          </a:p>
        </p:txBody>
      </p:sp>
      <p:sp>
        <p:nvSpPr>
          <p:cNvPr id="3" name="Title 4">
            <a:extLst>
              <a:ext uri="{FF2B5EF4-FFF2-40B4-BE49-F238E27FC236}">
                <a16:creationId xmlns:a16="http://schemas.microsoft.com/office/drawing/2014/main" id="{47268815-56D0-7163-1D08-C62C865CBAFF}"/>
              </a:ext>
            </a:extLst>
          </p:cNvPr>
          <p:cNvSpPr txBox="1">
            <a:spLocks/>
          </p:cNvSpPr>
          <p:nvPr/>
        </p:nvSpPr>
        <p:spPr>
          <a:xfrm>
            <a:off x="469903" y="402598"/>
            <a:ext cx="11252200"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l-GR" sz="2000" dirty="0">
                <a:latin typeface="Calibri" panose="020F0502020204030204" pitchFamily="34" charset="0"/>
                <a:cs typeface="Calibri" panose="020F0502020204030204" pitchFamily="34" charset="0"/>
              </a:rPr>
              <a:t>Διμερής συμφωνίες πώλησης ενέργειας (</a:t>
            </a:r>
            <a:r>
              <a:rPr lang="en-US" sz="2000" dirty="0">
                <a:latin typeface="Calibri" panose="020F0502020204030204" pitchFamily="34" charset="0"/>
                <a:cs typeface="Calibri" panose="020F0502020204030204" pitchFamily="34" charset="0"/>
              </a:rPr>
              <a:t>Corporate PPA’s)</a:t>
            </a:r>
          </a:p>
        </p:txBody>
      </p:sp>
      <p:grpSp>
        <p:nvGrpSpPr>
          <p:cNvPr id="4" name="Group 3">
            <a:extLst>
              <a:ext uri="{FF2B5EF4-FFF2-40B4-BE49-F238E27FC236}">
                <a16:creationId xmlns:a16="http://schemas.microsoft.com/office/drawing/2014/main" id="{33B550B1-4C1D-91DC-01FB-43B2AC27E4CC}"/>
              </a:ext>
            </a:extLst>
          </p:cNvPr>
          <p:cNvGrpSpPr/>
          <p:nvPr/>
        </p:nvGrpSpPr>
        <p:grpSpPr>
          <a:xfrm>
            <a:off x="330738" y="1656012"/>
            <a:ext cx="5765262" cy="3998711"/>
            <a:chOff x="313048" y="1358956"/>
            <a:chExt cx="5765262" cy="3998711"/>
          </a:xfrm>
        </p:grpSpPr>
        <p:pic>
          <p:nvPicPr>
            <p:cNvPr id="5" name="Picture 4" descr="A diagram of a wind turbine&#10;&#10;Description automatically generated">
              <a:extLst>
                <a:ext uri="{FF2B5EF4-FFF2-40B4-BE49-F238E27FC236}">
                  <a16:creationId xmlns:a16="http://schemas.microsoft.com/office/drawing/2014/main" id="{D81BD286-EE6C-5F49-2917-BAEBA7346A04}"/>
                </a:ext>
              </a:extLst>
            </p:cNvPr>
            <p:cNvPicPr>
              <a:picLocks noChangeAspect="1"/>
            </p:cNvPicPr>
            <p:nvPr/>
          </p:nvPicPr>
          <p:blipFill rotWithShape="1">
            <a:blip r:embed="rId6">
              <a:extLst>
                <a:ext uri="{28A0092B-C50C-407E-A947-70E740481C1C}">
                  <a14:useLocalDpi xmlns:a14="http://schemas.microsoft.com/office/drawing/2010/main" val="0"/>
                </a:ext>
              </a:extLst>
            </a:blip>
            <a:srcRect l="19959" t="19500" r="18367" b="15682"/>
            <a:stretch/>
          </p:blipFill>
          <p:spPr>
            <a:xfrm>
              <a:off x="313048" y="2533484"/>
              <a:ext cx="1649201" cy="1827728"/>
            </a:xfrm>
            <a:prstGeom prst="rect">
              <a:avLst/>
            </a:prstGeom>
          </p:spPr>
        </p:pic>
        <p:pic>
          <p:nvPicPr>
            <p:cNvPr id="6" name="Picture 5" descr="A green and grey building with smoke coming out of it&#10;&#10;Description automatically generated">
              <a:extLst>
                <a:ext uri="{FF2B5EF4-FFF2-40B4-BE49-F238E27FC236}">
                  <a16:creationId xmlns:a16="http://schemas.microsoft.com/office/drawing/2014/main" id="{599E0DC0-1FCB-70B4-439E-C602ECEF0354}"/>
                </a:ext>
              </a:extLst>
            </p:cNvPr>
            <p:cNvPicPr>
              <a:picLocks noChangeAspect="1"/>
            </p:cNvPicPr>
            <p:nvPr/>
          </p:nvPicPr>
          <p:blipFill rotWithShape="1">
            <a:blip r:embed="rId7">
              <a:extLst>
                <a:ext uri="{28A0092B-C50C-407E-A947-70E740481C1C}">
                  <a14:useLocalDpi xmlns:a14="http://schemas.microsoft.com/office/drawing/2010/main" val="0"/>
                </a:ext>
              </a:extLst>
            </a:blip>
            <a:srcRect b="14699"/>
            <a:stretch/>
          </p:blipFill>
          <p:spPr>
            <a:xfrm>
              <a:off x="4263775" y="2515136"/>
              <a:ext cx="1733135" cy="1827728"/>
            </a:xfrm>
            <a:prstGeom prst="rect">
              <a:avLst/>
            </a:prstGeom>
          </p:spPr>
        </p:pic>
        <p:grpSp>
          <p:nvGrpSpPr>
            <p:cNvPr id="7" name="Graphic 4">
              <a:extLst>
                <a:ext uri="{FF2B5EF4-FFF2-40B4-BE49-F238E27FC236}">
                  <a16:creationId xmlns:a16="http://schemas.microsoft.com/office/drawing/2014/main" id="{17F75B6A-C90E-CB5D-8AA4-9D2799AED0F3}"/>
                </a:ext>
              </a:extLst>
            </p:cNvPr>
            <p:cNvGrpSpPr/>
            <p:nvPr/>
          </p:nvGrpSpPr>
          <p:grpSpPr>
            <a:xfrm>
              <a:off x="2927493" y="4706190"/>
              <a:ext cx="581943" cy="651477"/>
              <a:chOff x="10324860" y="1402085"/>
              <a:chExt cx="361670" cy="361333"/>
            </a:xfrm>
            <a:solidFill>
              <a:srgbClr val="007680"/>
            </a:solidFill>
          </p:grpSpPr>
          <p:sp>
            <p:nvSpPr>
              <p:cNvPr id="48" name="Graphic 4">
                <a:extLst>
                  <a:ext uri="{FF2B5EF4-FFF2-40B4-BE49-F238E27FC236}">
                    <a16:creationId xmlns:a16="http://schemas.microsoft.com/office/drawing/2014/main" id="{4F008EE4-2AA0-E1CE-85AB-B7A4A3230F09}"/>
                  </a:ext>
                </a:extLst>
              </p:cNvPr>
              <p:cNvSpPr/>
              <p:nvPr/>
            </p:nvSpPr>
            <p:spPr>
              <a:xfrm>
                <a:off x="10403456" y="1554662"/>
                <a:ext cx="169972" cy="91291"/>
              </a:xfrm>
              <a:custGeom>
                <a:avLst/>
                <a:gdLst>
                  <a:gd name="connsiteX0" fmla="*/ 0 w 169972"/>
                  <a:gd name="connsiteY0" fmla="*/ 0 h 91291"/>
                  <a:gd name="connsiteX1" fmla="*/ 0 w 169972"/>
                  <a:gd name="connsiteY1" fmla="*/ 91291 h 91291"/>
                  <a:gd name="connsiteX2" fmla="*/ 169972 w 169972"/>
                  <a:gd name="connsiteY2" fmla="*/ 91291 h 91291"/>
                  <a:gd name="connsiteX3" fmla="*/ 169972 w 169972"/>
                  <a:gd name="connsiteY3" fmla="*/ 0 h 91291"/>
                  <a:gd name="connsiteX4" fmla="*/ 0 w 169972"/>
                  <a:gd name="connsiteY4" fmla="*/ 0 h 91291"/>
                  <a:gd name="connsiteX5" fmla="*/ 84986 w 169972"/>
                  <a:gd name="connsiteY5" fmla="*/ 51072 h 91291"/>
                  <a:gd name="connsiteX6" fmla="*/ 68373 w 169972"/>
                  <a:gd name="connsiteY6" fmla="*/ 34474 h 91291"/>
                  <a:gd name="connsiteX7" fmla="*/ 80513 w 169972"/>
                  <a:gd name="connsiteY7" fmla="*/ 18514 h 91291"/>
                  <a:gd name="connsiteX8" fmla="*/ 80513 w 169972"/>
                  <a:gd name="connsiteY8" fmla="*/ 14683 h 91291"/>
                  <a:gd name="connsiteX9" fmla="*/ 85625 w 169972"/>
                  <a:gd name="connsiteY9" fmla="*/ 9576 h 91291"/>
                  <a:gd name="connsiteX10" fmla="*/ 90738 w 169972"/>
                  <a:gd name="connsiteY10" fmla="*/ 14683 h 91291"/>
                  <a:gd name="connsiteX11" fmla="*/ 90738 w 169972"/>
                  <a:gd name="connsiteY11" fmla="*/ 18514 h 91291"/>
                  <a:gd name="connsiteX12" fmla="*/ 102878 w 169972"/>
                  <a:gd name="connsiteY12" fmla="*/ 34474 h 91291"/>
                  <a:gd name="connsiteX13" fmla="*/ 97766 w 169972"/>
                  <a:gd name="connsiteY13" fmla="*/ 39581 h 91291"/>
                  <a:gd name="connsiteX14" fmla="*/ 92654 w 169972"/>
                  <a:gd name="connsiteY14" fmla="*/ 34474 h 91291"/>
                  <a:gd name="connsiteX15" fmla="*/ 85625 w 169972"/>
                  <a:gd name="connsiteY15" fmla="*/ 27451 h 91291"/>
                  <a:gd name="connsiteX16" fmla="*/ 78597 w 169972"/>
                  <a:gd name="connsiteY16" fmla="*/ 34474 h 91291"/>
                  <a:gd name="connsiteX17" fmla="*/ 85625 w 169972"/>
                  <a:gd name="connsiteY17" fmla="*/ 41496 h 91291"/>
                  <a:gd name="connsiteX18" fmla="*/ 102239 w 169972"/>
                  <a:gd name="connsiteY18" fmla="*/ 58094 h 91291"/>
                  <a:gd name="connsiteX19" fmla="*/ 90098 w 169972"/>
                  <a:gd name="connsiteY19" fmla="*/ 74054 h 91291"/>
                  <a:gd name="connsiteX20" fmla="*/ 90098 w 169972"/>
                  <a:gd name="connsiteY20" fmla="*/ 77885 h 91291"/>
                  <a:gd name="connsiteX21" fmla="*/ 84986 w 169972"/>
                  <a:gd name="connsiteY21" fmla="*/ 82992 h 91291"/>
                  <a:gd name="connsiteX22" fmla="*/ 79874 w 169972"/>
                  <a:gd name="connsiteY22" fmla="*/ 77885 h 91291"/>
                  <a:gd name="connsiteX23" fmla="*/ 79874 w 169972"/>
                  <a:gd name="connsiteY23" fmla="*/ 74054 h 91291"/>
                  <a:gd name="connsiteX24" fmla="*/ 67733 w 169972"/>
                  <a:gd name="connsiteY24" fmla="*/ 58094 h 91291"/>
                  <a:gd name="connsiteX25" fmla="*/ 72845 w 169972"/>
                  <a:gd name="connsiteY25" fmla="*/ 52987 h 91291"/>
                  <a:gd name="connsiteX26" fmla="*/ 77958 w 169972"/>
                  <a:gd name="connsiteY26" fmla="*/ 58094 h 91291"/>
                  <a:gd name="connsiteX27" fmla="*/ 84986 w 169972"/>
                  <a:gd name="connsiteY27" fmla="*/ 65117 h 91291"/>
                  <a:gd name="connsiteX28" fmla="*/ 92015 w 169972"/>
                  <a:gd name="connsiteY28" fmla="*/ 58094 h 91291"/>
                  <a:gd name="connsiteX29" fmla="*/ 84986 w 169972"/>
                  <a:gd name="connsiteY29" fmla="*/ 51072 h 9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9972" h="91291">
                    <a:moveTo>
                      <a:pt x="0" y="0"/>
                    </a:moveTo>
                    <a:lnTo>
                      <a:pt x="0" y="91291"/>
                    </a:lnTo>
                    <a:lnTo>
                      <a:pt x="169972" y="91291"/>
                    </a:lnTo>
                    <a:lnTo>
                      <a:pt x="169972" y="0"/>
                    </a:lnTo>
                    <a:lnTo>
                      <a:pt x="0" y="0"/>
                    </a:lnTo>
                    <a:close/>
                    <a:moveTo>
                      <a:pt x="84986" y="51072"/>
                    </a:moveTo>
                    <a:cubicBezTo>
                      <a:pt x="76040" y="51072"/>
                      <a:pt x="68373" y="43411"/>
                      <a:pt x="68373" y="34474"/>
                    </a:cubicBezTo>
                    <a:cubicBezTo>
                      <a:pt x="68373" y="26813"/>
                      <a:pt x="73484" y="20429"/>
                      <a:pt x="80513" y="18514"/>
                    </a:cubicBezTo>
                    <a:lnTo>
                      <a:pt x="80513" y="14683"/>
                    </a:lnTo>
                    <a:cubicBezTo>
                      <a:pt x="80513" y="12130"/>
                      <a:pt x="82430" y="9576"/>
                      <a:pt x="85625" y="9576"/>
                    </a:cubicBezTo>
                    <a:cubicBezTo>
                      <a:pt x="88820" y="9576"/>
                      <a:pt x="90738" y="11491"/>
                      <a:pt x="90738" y="14683"/>
                    </a:cubicBezTo>
                    <a:lnTo>
                      <a:pt x="90738" y="18514"/>
                    </a:lnTo>
                    <a:cubicBezTo>
                      <a:pt x="97766" y="20429"/>
                      <a:pt x="102878" y="26813"/>
                      <a:pt x="102878" y="34474"/>
                    </a:cubicBezTo>
                    <a:cubicBezTo>
                      <a:pt x="102878" y="37027"/>
                      <a:pt x="100961" y="39581"/>
                      <a:pt x="97766" y="39581"/>
                    </a:cubicBezTo>
                    <a:cubicBezTo>
                      <a:pt x="94571" y="39581"/>
                      <a:pt x="92654" y="37666"/>
                      <a:pt x="92654" y="34474"/>
                    </a:cubicBezTo>
                    <a:cubicBezTo>
                      <a:pt x="92654" y="30643"/>
                      <a:pt x="89459" y="27451"/>
                      <a:pt x="85625" y="27451"/>
                    </a:cubicBezTo>
                    <a:cubicBezTo>
                      <a:pt x="81792" y="27451"/>
                      <a:pt x="78597" y="30643"/>
                      <a:pt x="78597" y="34474"/>
                    </a:cubicBezTo>
                    <a:cubicBezTo>
                      <a:pt x="78597" y="38304"/>
                      <a:pt x="81792" y="41496"/>
                      <a:pt x="85625" y="41496"/>
                    </a:cubicBezTo>
                    <a:cubicBezTo>
                      <a:pt x="95210" y="41496"/>
                      <a:pt x="102239" y="49157"/>
                      <a:pt x="102239" y="58094"/>
                    </a:cubicBezTo>
                    <a:cubicBezTo>
                      <a:pt x="102239" y="65755"/>
                      <a:pt x="97128" y="72139"/>
                      <a:pt x="90098" y="74054"/>
                    </a:cubicBezTo>
                    <a:lnTo>
                      <a:pt x="90098" y="77885"/>
                    </a:lnTo>
                    <a:cubicBezTo>
                      <a:pt x="90098" y="80438"/>
                      <a:pt x="88181" y="82992"/>
                      <a:pt x="84986" y="82992"/>
                    </a:cubicBezTo>
                    <a:cubicBezTo>
                      <a:pt x="81792" y="82992"/>
                      <a:pt x="79874" y="81077"/>
                      <a:pt x="79874" y="77885"/>
                    </a:cubicBezTo>
                    <a:lnTo>
                      <a:pt x="79874" y="74054"/>
                    </a:lnTo>
                    <a:cubicBezTo>
                      <a:pt x="72845" y="72139"/>
                      <a:pt x="67733" y="65755"/>
                      <a:pt x="67733" y="58094"/>
                    </a:cubicBezTo>
                    <a:cubicBezTo>
                      <a:pt x="67733" y="55541"/>
                      <a:pt x="69650" y="52987"/>
                      <a:pt x="72845" y="52987"/>
                    </a:cubicBezTo>
                    <a:cubicBezTo>
                      <a:pt x="76040" y="52987"/>
                      <a:pt x="77958" y="54902"/>
                      <a:pt x="77958" y="58094"/>
                    </a:cubicBezTo>
                    <a:cubicBezTo>
                      <a:pt x="77958" y="61925"/>
                      <a:pt x="81153" y="65117"/>
                      <a:pt x="84986" y="65117"/>
                    </a:cubicBezTo>
                    <a:cubicBezTo>
                      <a:pt x="88820" y="65117"/>
                      <a:pt x="92015" y="61925"/>
                      <a:pt x="92015" y="58094"/>
                    </a:cubicBezTo>
                    <a:cubicBezTo>
                      <a:pt x="92654" y="54264"/>
                      <a:pt x="88820" y="51072"/>
                      <a:pt x="84986" y="51072"/>
                    </a:cubicBezTo>
                    <a:close/>
                  </a:path>
                </a:pathLst>
              </a:custGeom>
              <a:solidFill>
                <a:srgbClr val="007680"/>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 name="Graphic 4">
                <a:extLst>
                  <a:ext uri="{FF2B5EF4-FFF2-40B4-BE49-F238E27FC236}">
                    <a16:creationId xmlns:a16="http://schemas.microsoft.com/office/drawing/2014/main" id="{12DB9F1F-AD40-1A55-DB69-11D52A66BA26}"/>
                  </a:ext>
                </a:extLst>
              </p:cNvPr>
              <p:cNvSpPr/>
              <p:nvPr/>
            </p:nvSpPr>
            <p:spPr>
              <a:xfrm>
                <a:off x="10438601" y="1520188"/>
                <a:ext cx="169972" cy="91929"/>
              </a:xfrm>
              <a:custGeom>
                <a:avLst/>
                <a:gdLst>
                  <a:gd name="connsiteX0" fmla="*/ 0 w 169972"/>
                  <a:gd name="connsiteY0" fmla="*/ 21706 h 91929"/>
                  <a:gd name="connsiteX1" fmla="*/ 141217 w 169972"/>
                  <a:gd name="connsiteY1" fmla="*/ 21706 h 91929"/>
                  <a:gd name="connsiteX2" fmla="*/ 147607 w 169972"/>
                  <a:gd name="connsiteY2" fmla="*/ 28089 h 91929"/>
                  <a:gd name="connsiteX3" fmla="*/ 147607 w 169972"/>
                  <a:gd name="connsiteY3" fmla="*/ 91929 h 91929"/>
                  <a:gd name="connsiteX4" fmla="*/ 150164 w 169972"/>
                  <a:gd name="connsiteY4" fmla="*/ 91291 h 91929"/>
                  <a:gd name="connsiteX5" fmla="*/ 169972 w 169972"/>
                  <a:gd name="connsiteY5" fmla="*/ 91291 h 91929"/>
                  <a:gd name="connsiteX6" fmla="*/ 169972 w 169972"/>
                  <a:gd name="connsiteY6" fmla="*/ 0 h 91929"/>
                  <a:gd name="connsiteX7" fmla="*/ 0 w 169972"/>
                  <a:gd name="connsiteY7" fmla="*/ 0 h 91929"/>
                  <a:gd name="connsiteX8" fmla="*/ 0 w 169972"/>
                  <a:gd name="connsiteY8" fmla="*/ 21706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72" h="91929">
                    <a:moveTo>
                      <a:pt x="0" y="21706"/>
                    </a:moveTo>
                    <a:lnTo>
                      <a:pt x="141217" y="21706"/>
                    </a:lnTo>
                    <a:cubicBezTo>
                      <a:pt x="145052" y="21706"/>
                      <a:pt x="147607" y="24259"/>
                      <a:pt x="147607" y="28089"/>
                    </a:cubicBezTo>
                    <a:lnTo>
                      <a:pt x="147607" y="91929"/>
                    </a:lnTo>
                    <a:cubicBezTo>
                      <a:pt x="148247" y="91929"/>
                      <a:pt x="148886" y="91291"/>
                      <a:pt x="150164" y="91291"/>
                    </a:cubicBezTo>
                    <a:lnTo>
                      <a:pt x="169972" y="91291"/>
                    </a:lnTo>
                    <a:lnTo>
                      <a:pt x="169972" y="0"/>
                    </a:lnTo>
                    <a:lnTo>
                      <a:pt x="0" y="0"/>
                    </a:lnTo>
                    <a:lnTo>
                      <a:pt x="0" y="21706"/>
                    </a:lnTo>
                    <a:close/>
                  </a:path>
                </a:pathLst>
              </a:custGeom>
              <a:solidFill>
                <a:srgbClr val="007680"/>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 name="Graphic 4">
                <a:extLst>
                  <a:ext uri="{FF2B5EF4-FFF2-40B4-BE49-F238E27FC236}">
                    <a16:creationId xmlns:a16="http://schemas.microsoft.com/office/drawing/2014/main" id="{3C4D8F8E-3921-D238-A017-8B53740524B3}"/>
                  </a:ext>
                </a:extLst>
              </p:cNvPr>
              <p:cNvSpPr/>
              <p:nvPr/>
            </p:nvSpPr>
            <p:spPr>
              <a:xfrm>
                <a:off x="10324860"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6492 w 361670"/>
                  <a:gd name="connsiteY5" fmla="*/ 215779 h 361333"/>
                  <a:gd name="connsiteX6" fmla="*/ 290103 w 361670"/>
                  <a:gd name="connsiteY6" fmla="*/ 222163 h 361333"/>
                  <a:gd name="connsiteX7" fmla="*/ 263904 w 361670"/>
                  <a:gd name="connsiteY7" fmla="*/ 222163 h 361333"/>
                  <a:gd name="connsiteX8" fmla="*/ 261348 w 361670"/>
                  <a:gd name="connsiteY8" fmla="*/ 221524 h 361333"/>
                  <a:gd name="connsiteX9" fmla="*/ 261348 w 361670"/>
                  <a:gd name="connsiteY9" fmla="*/ 250252 h 361333"/>
                  <a:gd name="connsiteX10" fmla="*/ 254958 w 361670"/>
                  <a:gd name="connsiteY10" fmla="*/ 256636 h 361333"/>
                  <a:gd name="connsiteX11" fmla="*/ 72206 w 361670"/>
                  <a:gd name="connsiteY11" fmla="*/ 256636 h 361333"/>
                  <a:gd name="connsiteX12" fmla="*/ 65816 w 361670"/>
                  <a:gd name="connsiteY12" fmla="*/ 250252 h 361333"/>
                  <a:gd name="connsiteX13" fmla="*/ 65816 w 361670"/>
                  <a:gd name="connsiteY13" fmla="*/ 146193 h 361333"/>
                  <a:gd name="connsiteX14" fmla="*/ 72206 w 361670"/>
                  <a:gd name="connsiteY14" fmla="*/ 139809 h 361333"/>
                  <a:gd name="connsiteX15" fmla="*/ 100322 w 361670"/>
                  <a:gd name="connsiteY15" fmla="*/ 139809 h 361333"/>
                  <a:gd name="connsiteX16" fmla="*/ 100322 w 361670"/>
                  <a:gd name="connsiteY16" fmla="*/ 111720 h 361333"/>
                  <a:gd name="connsiteX17" fmla="*/ 106712 w 361670"/>
                  <a:gd name="connsiteY17" fmla="*/ 105336 h 361333"/>
                  <a:gd name="connsiteX18" fmla="*/ 289464 w 361670"/>
                  <a:gd name="connsiteY18" fmla="*/ 105336 h 361333"/>
                  <a:gd name="connsiteX19" fmla="*/ 295854 w 361670"/>
                  <a:gd name="connsiteY19" fmla="*/ 111720 h 361333"/>
                  <a:gd name="connsiteX20" fmla="*/ 295854 w 361670"/>
                  <a:gd name="connsiteY20" fmla="*/ 21577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96492" y="215779"/>
                    </a:moveTo>
                    <a:cubicBezTo>
                      <a:pt x="296492" y="219609"/>
                      <a:pt x="293937" y="222163"/>
                      <a:pt x="290103" y="222163"/>
                    </a:cubicBezTo>
                    <a:lnTo>
                      <a:pt x="263904" y="222163"/>
                    </a:lnTo>
                    <a:cubicBezTo>
                      <a:pt x="263265" y="222163"/>
                      <a:pt x="262626" y="222163"/>
                      <a:pt x="261348" y="221524"/>
                    </a:cubicBezTo>
                    <a:lnTo>
                      <a:pt x="261348" y="250252"/>
                    </a:lnTo>
                    <a:cubicBezTo>
                      <a:pt x="261348" y="254082"/>
                      <a:pt x="258792" y="256636"/>
                      <a:pt x="254958" y="256636"/>
                    </a:cubicBezTo>
                    <a:lnTo>
                      <a:pt x="72206" y="256636"/>
                    </a:lnTo>
                    <a:cubicBezTo>
                      <a:pt x="68372" y="256636"/>
                      <a:pt x="65816" y="254082"/>
                      <a:pt x="65816" y="250252"/>
                    </a:cubicBezTo>
                    <a:lnTo>
                      <a:pt x="65816" y="146193"/>
                    </a:lnTo>
                    <a:cubicBezTo>
                      <a:pt x="65816" y="142363"/>
                      <a:pt x="68372" y="139809"/>
                      <a:pt x="72206" y="139809"/>
                    </a:cubicBezTo>
                    <a:lnTo>
                      <a:pt x="100322" y="139809"/>
                    </a:lnTo>
                    <a:lnTo>
                      <a:pt x="100322" y="111720"/>
                    </a:lnTo>
                    <a:cubicBezTo>
                      <a:pt x="100322" y="107889"/>
                      <a:pt x="102878" y="105336"/>
                      <a:pt x="106712" y="105336"/>
                    </a:cubicBezTo>
                    <a:lnTo>
                      <a:pt x="289464" y="105336"/>
                    </a:lnTo>
                    <a:cubicBezTo>
                      <a:pt x="293298" y="105336"/>
                      <a:pt x="295854" y="107889"/>
                      <a:pt x="295854" y="111720"/>
                    </a:cubicBezTo>
                    <a:lnTo>
                      <a:pt x="295854" y="215779"/>
                    </a:lnTo>
                    <a:close/>
                  </a:path>
                </a:pathLst>
              </a:custGeom>
              <a:solidFill>
                <a:srgbClr val="007680"/>
              </a:solidFill>
              <a:ln w="6390" cap="flat">
                <a:solidFill>
                  <a:schemeClr val="accent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8" name="Textbox 38">
              <a:extLst>
                <a:ext uri="{FF2B5EF4-FFF2-40B4-BE49-F238E27FC236}">
                  <a16:creationId xmlns:a16="http://schemas.microsoft.com/office/drawing/2014/main" id="{10B8F1C0-AFB6-F55E-804A-5426964FF0B3}"/>
                </a:ext>
              </a:extLst>
            </p:cNvPr>
            <p:cNvSpPr txBox="1"/>
            <p:nvPr/>
          </p:nvSpPr>
          <p:spPr>
            <a:xfrm>
              <a:off x="1893384" y="2374831"/>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9" name="Textbox 38">
              <a:extLst>
                <a:ext uri="{FF2B5EF4-FFF2-40B4-BE49-F238E27FC236}">
                  <a16:creationId xmlns:a16="http://schemas.microsoft.com/office/drawing/2014/main" id="{828C8F4A-698B-A6B3-39AF-A6D304499335}"/>
                </a:ext>
              </a:extLst>
            </p:cNvPr>
            <p:cNvSpPr txBox="1"/>
            <p:nvPr/>
          </p:nvSpPr>
          <p:spPr>
            <a:xfrm>
              <a:off x="1893383" y="2319612"/>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10" name="Textbox 38">
              <a:extLst>
                <a:ext uri="{FF2B5EF4-FFF2-40B4-BE49-F238E27FC236}">
                  <a16:creationId xmlns:a16="http://schemas.microsoft.com/office/drawing/2014/main" id="{AC7ED234-F83C-8DF3-F320-BFED6221148C}"/>
                </a:ext>
              </a:extLst>
            </p:cNvPr>
            <p:cNvSpPr txBox="1"/>
            <p:nvPr/>
          </p:nvSpPr>
          <p:spPr>
            <a:xfrm>
              <a:off x="469379" y="4290698"/>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6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Πωλητής</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11" name="Textbox 38">
              <a:extLst>
                <a:ext uri="{FF2B5EF4-FFF2-40B4-BE49-F238E27FC236}">
                  <a16:creationId xmlns:a16="http://schemas.microsoft.com/office/drawing/2014/main" id="{0CFFFAC6-A29C-D552-8D06-0D7A878678EC}"/>
                </a:ext>
              </a:extLst>
            </p:cNvPr>
            <p:cNvSpPr txBox="1"/>
            <p:nvPr/>
          </p:nvSpPr>
          <p:spPr>
            <a:xfrm>
              <a:off x="3169520" y="4296003"/>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6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Αγοραστής</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grpSp>
          <p:nvGrpSpPr>
            <p:cNvPr id="12" name="Graphic 4">
              <a:extLst>
                <a:ext uri="{FF2B5EF4-FFF2-40B4-BE49-F238E27FC236}">
                  <a16:creationId xmlns:a16="http://schemas.microsoft.com/office/drawing/2014/main" id="{D91A1C5E-A621-AA5A-3F97-567781352F2C}"/>
                </a:ext>
              </a:extLst>
            </p:cNvPr>
            <p:cNvGrpSpPr>
              <a:grpSpLocks noChangeAspect="1"/>
            </p:cNvGrpSpPr>
            <p:nvPr/>
          </p:nvGrpSpPr>
          <p:grpSpPr>
            <a:xfrm>
              <a:off x="2927493" y="2903511"/>
              <a:ext cx="484055" cy="552491"/>
              <a:chOff x="1017917" y="2938071"/>
              <a:chExt cx="136744" cy="195988"/>
            </a:xfrm>
            <a:solidFill>
              <a:srgbClr val="26890D"/>
            </a:solidFill>
          </p:grpSpPr>
          <p:sp>
            <p:nvSpPr>
              <p:cNvPr id="37" name="Graphic 4">
                <a:extLst>
                  <a:ext uri="{FF2B5EF4-FFF2-40B4-BE49-F238E27FC236}">
                    <a16:creationId xmlns:a16="http://schemas.microsoft.com/office/drawing/2014/main" id="{9EE4A2A7-C0AE-15E1-5142-AC17DBCE7C81}"/>
                  </a:ext>
                </a:extLst>
              </p:cNvPr>
              <p:cNvSpPr/>
              <p:nvPr/>
            </p:nvSpPr>
            <p:spPr>
              <a:xfrm>
                <a:off x="1017917" y="2938071"/>
                <a:ext cx="136744" cy="195988"/>
              </a:xfrm>
              <a:custGeom>
                <a:avLst/>
                <a:gdLst>
                  <a:gd name="connsiteX0" fmla="*/ 23643 w 136744"/>
                  <a:gd name="connsiteY0" fmla="*/ 84268 h 195988"/>
                  <a:gd name="connsiteX1" fmla="*/ 113102 w 136744"/>
                  <a:gd name="connsiteY1" fmla="*/ 84268 h 195988"/>
                  <a:gd name="connsiteX2" fmla="*/ 119492 w 136744"/>
                  <a:gd name="connsiteY2" fmla="*/ 90652 h 195988"/>
                  <a:gd name="connsiteX3" fmla="*/ 113102 w 136744"/>
                  <a:gd name="connsiteY3" fmla="*/ 97036 h 195988"/>
                  <a:gd name="connsiteX4" fmla="*/ 23643 w 136744"/>
                  <a:gd name="connsiteY4" fmla="*/ 97036 h 195988"/>
                  <a:gd name="connsiteX5" fmla="*/ 17253 w 136744"/>
                  <a:gd name="connsiteY5" fmla="*/ 90652 h 195988"/>
                  <a:gd name="connsiteX6" fmla="*/ 23643 w 136744"/>
                  <a:gd name="connsiteY6" fmla="*/ 84268 h 195988"/>
                  <a:gd name="connsiteX7" fmla="*/ 23643 w 136744"/>
                  <a:gd name="connsiteY7" fmla="*/ 54902 h 195988"/>
                  <a:gd name="connsiteX8" fmla="*/ 113102 w 136744"/>
                  <a:gd name="connsiteY8" fmla="*/ 54902 h 195988"/>
                  <a:gd name="connsiteX9" fmla="*/ 119492 w 136744"/>
                  <a:gd name="connsiteY9" fmla="*/ 61286 h 195988"/>
                  <a:gd name="connsiteX10" fmla="*/ 113102 w 136744"/>
                  <a:gd name="connsiteY10" fmla="*/ 67670 h 195988"/>
                  <a:gd name="connsiteX11" fmla="*/ 23643 w 136744"/>
                  <a:gd name="connsiteY11" fmla="*/ 67670 h 195988"/>
                  <a:gd name="connsiteX12" fmla="*/ 17253 w 136744"/>
                  <a:gd name="connsiteY12" fmla="*/ 61286 h 195988"/>
                  <a:gd name="connsiteX13" fmla="*/ 23643 w 136744"/>
                  <a:gd name="connsiteY13" fmla="*/ 54902 h 195988"/>
                  <a:gd name="connsiteX14" fmla="*/ 23643 w 136744"/>
                  <a:gd name="connsiteY14" fmla="*/ 24897 h 195988"/>
                  <a:gd name="connsiteX15" fmla="*/ 113102 w 136744"/>
                  <a:gd name="connsiteY15" fmla="*/ 24897 h 195988"/>
                  <a:gd name="connsiteX16" fmla="*/ 119492 w 136744"/>
                  <a:gd name="connsiteY16" fmla="*/ 31281 h 195988"/>
                  <a:gd name="connsiteX17" fmla="*/ 113102 w 136744"/>
                  <a:gd name="connsiteY17" fmla="*/ 37665 h 195988"/>
                  <a:gd name="connsiteX18" fmla="*/ 23643 w 136744"/>
                  <a:gd name="connsiteY18" fmla="*/ 37665 h 195988"/>
                  <a:gd name="connsiteX19" fmla="*/ 17253 w 136744"/>
                  <a:gd name="connsiteY19" fmla="*/ 31281 h 195988"/>
                  <a:gd name="connsiteX20" fmla="*/ 23643 w 136744"/>
                  <a:gd name="connsiteY20" fmla="*/ 24897 h 195988"/>
                  <a:gd name="connsiteX21" fmla="*/ 96488 w 136744"/>
                  <a:gd name="connsiteY21" fmla="*/ 151300 h 195988"/>
                  <a:gd name="connsiteX22" fmla="*/ 97127 w 136744"/>
                  <a:gd name="connsiteY22" fmla="*/ 159600 h 195988"/>
                  <a:gd name="connsiteX23" fmla="*/ 91376 w 136744"/>
                  <a:gd name="connsiteY23" fmla="*/ 165984 h 195988"/>
                  <a:gd name="connsiteX24" fmla="*/ 90737 w 136744"/>
                  <a:gd name="connsiteY24" fmla="*/ 166622 h 195988"/>
                  <a:gd name="connsiteX25" fmla="*/ 90737 w 136744"/>
                  <a:gd name="connsiteY25" fmla="*/ 167260 h 195988"/>
                  <a:gd name="connsiteX26" fmla="*/ 86264 w 136744"/>
                  <a:gd name="connsiteY26" fmla="*/ 174283 h 195988"/>
                  <a:gd name="connsiteX27" fmla="*/ 77957 w 136744"/>
                  <a:gd name="connsiteY27" fmla="*/ 176198 h 195988"/>
                  <a:gd name="connsiteX28" fmla="*/ 77318 w 136744"/>
                  <a:gd name="connsiteY28" fmla="*/ 176198 h 195988"/>
                  <a:gd name="connsiteX29" fmla="*/ 76679 w 136744"/>
                  <a:gd name="connsiteY29" fmla="*/ 176836 h 195988"/>
                  <a:gd name="connsiteX30" fmla="*/ 61343 w 136744"/>
                  <a:gd name="connsiteY30" fmla="*/ 177475 h 195988"/>
                  <a:gd name="connsiteX31" fmla="*/ 60704 w 136744"/>
                  <a:gd name="connsiteY31" fmla="*/ 176836 h 195988"/>
                  <a:gd name="connsiteX32" fmla="*/ 60065 w 136744"/>
                  <a:gd name="connsiteY32" fmla="*/ 176198 h 195988"/>
                  <a:gd name="connsiteX33" fmla="*/ 59426 w 136744"/>
                  <a:gd name="connsiteY33" fmla="*/ 176198 h 195988"/>
                  <a:gd name="connsiteX34" fmla="*/ 46647 w 136744"/>
                  <a:gd name="connsiteY34" fmla="*/ 167899 h 195988"/>
                  <a:gd name="connsiteX35" fmla="*/ 46647 w 136744"/>
                  <a:gd name="connsiteY35" fmla="*/ 166622 h 195988"/>
                  <a:gd name="connsiteX36" fmla="*/ 46647 w 136744"/>
                  <a:gd name="connsiteY36" fmla="*/ 165984 h 195988"/>
                  <a:gd name="connsiteX37" fmla="*/ 46008 w 136744"/>
                  <a:gd name="connsiteY37" fmla="*/ 165345 h 195988"/>
                  <a:gd name="connsiteX38" fmla="*/ 40257 w 136744"/>
                  <a:gd name="connsiteY38" fmla="*/ 158961 h 195988"/>
                  <a:gd name="connsiteX39" fmla="*/ 40896 w 136744"/>
                  <a:gd name="connsiteY39" fmla="*/ 150662 h 195988"/>
                  <a:gd name="connsiteX40" fmla="*/ 41535 w 136744"/>
                  <a:gd name="connsiteY40" fmla="*/ 149385 h 195988"/>
                  <a:gd name="connsiteX41" fmla="*/ 40896 w 136744"/>
                  <a:gd name="connsiteY41" fmla="*/ 148747 h 195988"/>
                  <a:gd name="connsiteX42" fmla="*/ 40257 w 136744"/>
                  <a:gd name="connsiteY42" fmla="*/ 140448 h 195988"/>
                  <a:gd name="connsiteX43" fmla="*/ 46008 w 136744"/>
                  <a:gd name="connsiteY43" fmla="*/ 134064 h 195988"/>
                  <a:gd name="connsiteX44" fmla="*/ 46647 w 136744"/>
                  <a:gd name="connsiteY44" fmla="*/ 133425 h 195988"/>
                  <a:gd name="connsiteX45" fmla="*/ 46647 w 136744"/>
                  <a:gd name="connsiteY45" fmla="*/ 132787 h 195988"/>
                  <a:gd name="connsiteX46" fmla="*/ 51119 w 136744"/>
                  <a:gd name="connsiteY46" fmla="*/ 125764 h 195988"/>
                  <a:gd name="connsiteX47" fmla="*/ 59426 w 136744"/>
                  <a:gd name="connsiteY47" fmla="*/ 123849 h 195988"/>
                  <a:gd name="connsiteX48" fmla="*/ 60065 w 136744"/>
                  <a:gd name="connsiteY48" fmla="*/ 123849 h 195988"/>
                  <a:gd name="connsiteX49" fmla="*/ 60704 w 136744"/>
                  <a:gd name="connsiteY49" fmla="*/ 123211 h 195988"/>
                  <a:gd name="connsiteX50" fmla="*/ 76040 w 136744"/>
                  <a:gd name="connsiteY50" fmla="*/ 122572 h 195988"/>
                  <a:gd name="connsiteX51" fmla="*/ 76679 w 136744"/>
                  <a:gd name="connsiteY51" fmla="*/ 123211 h 195988"/>
                  <a:gd name="connsiteX52" fmla="*/ 77318 w 136744"/>
                  <a:gd name="connsiteY52" fmla="*/ 123849 h 195988"/>
                  <a:gd name="connsiteX53" fmla="*/ 77957 w 136744"/>
                  <a:gd name="connsiteY53" fmla="*/ 123849 h 195988"/>
                  <a:gd name="connsiteX54" fmla="*/ 86264 w 136744"/>
                  <a:gd name="connsiteY54" fmla="*/ 125764 h 195988"/>
                  <a:gd name="connsiteX55" fmla="*/ 90737 w 136744"/>
                  <a:gd name="connsiteY55" fmla="*/ 132787 h 195988"/>
                  <a:gd name="connsiteX56" fmla="*/ 90737 w 136744"/>
                  <a:gd name="connsiteY56" fmla="*/ 133425 h 195988"/>
                  <a:gd name="connsiteX57" fmla="*/ 91376 w 136744"/>
                  <a:gd name="connsiteY57" fmla="*/ 134064 h 195988"/>
                  <a:gd name="connsiteX58" fmla="*/ 97127 w 136744"/>
                  <a:gd name="connsiteY58" fmla="*/ 140448 h 195988"/>
                  <a:gd name="connsiteX59" fmla="*/ 96488 w 136744"/>
                  <a:gd name="connsiteY59" fmla="*/ 148747 h 195988"/>
                  <a:gd name="connsiteX60" fmla="*/ 95849 w 136744"/>
                  <a:gd name="connsiteY60" fmla="*/ 149385 h 195988"/>
                  <a:gd name="connsiteX61" fmla="*/ 96488 w 136744"/>
                  <a:gd name="connsiteY61" fmla="*/ 151300 h 195988"/>
                  <a:gd name="connsiteX62" fmla="*/ 0 w 136744"/>
                  <a:gd name="connsiteY62" fmla="*/ 195988 h 195988"/>
                  <a:gd name="connsiteX63" fmla="*/ 136745 w 136744"/>
                  <a:gd name="connsiteY63" fmla="*/ 195988 h 195988"/>
                  <a:gd name="connsiteX64" fmla="*/ 136745 w 136744"/>
                  <a:gd name="connsiteY64" fmla="*/ 0 h 195988"/>
                  <a:gd name="connsiteX65" fmla="*/ 639 w 136744"/>
                  <a:gd name="connsiteY65" fmla="*/ 0 h 195988"/>
                  <a:gd name="connsiteX66" fmla="*/ 0 w 136744"/>
                  <a:gd name="connsiteY66" fmla="*/ 195988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36744" h="195988">
                    <a:moveTo>
                      <a:pt x="23643" y="84268"/>
                    </a:moveTo>
                    <a:lnTo>
                      <a:pt x="113102" y="84268"/>
                    </a:lnTo>
                    <a:cubicBezTo>
                      <a:pt x="116936" y="84268"/>
                      <a:pt x="119492" y="86822"/>
                      <a:pt x="119492" y="90652"/>
                    </a:cubicBezTo>
                    <a:cubicBezTo>
                      <a:pt x="119492" y="94483"/>
                      <a:pt x="116936" y="97036"/>
                      <a:pt x="113102" y="97036"/>
                    </a:cubicBezTo>
                    <a:lnTo>
                      <a:pt x="23643" y="97036"/>
                    </a:lnTo>
                    <a:cubicBezTo>
                      <a:pt x="19809" y="97036"/>
                      <a:pt x="17253" y="94483"/>
                      <a:pt x="17253" y="90652"/>
                    </a:cubicBezTo>
                    <a:cubicBezTo>
                      <a:pt x="17253" y="86822"/>
                      <a:pt x="19809" y="84268"/>
                      <a:pt x="23643" y="84268"/>
                    </a:cubicBezTo>
                    <a:moveTo>
                      <a:pt x="23643" y="54902"/>
                    </a:moveTo>
                    <a:lnTo>
                      <a:pt x="113102" y="54902"/>
                    </a:lnTo>
                    <a:cubicBezTo>
                      <a:pt x="116936" y="54902"/>
                      <a:pt x="119492" y="57456"/>
                      <a:pt x="119492" y="61286"/>
                    </a:cubicBezTo>
                    <a:cubicBezTo>
                      <a:pt x="119492" y="65117"/>
                      <a:pt x="116936" y="67670"/>
                      <a:pt x="113102" y="67670"/>
                    </a:cubicBezTo>
                    <a:lnTo>
                      <a:pt x="23643" y="67670"/>
                    </a:lnTo>
                    <a:cubicBezTo>
                      <a:pt x="19809" y="67670"/>
                      <a:pt x="17253" y="65117"/>
                      <a:pt x="17253" y="61286"/>
                    </a:cubicBezTo>
                    <a:cubicBezTo>
                      <a:pt x="17253" y="57456"/>
                      <a:pt x="19809" y="54902"/>
                      <a:pt x="23643" y="54902"/>
                    </a:cubicBezTo>
                    <a:moveTo>
                      <a:pt x="23643" y="24897"/>
                    </a:moveTo>
                    <a:lnTo>
                      <a:pt x="113102" y="24897"/>
                    </a:lnTo>
                    <a:cubicBezTo>
                      <a:pt x="116936" y="24897"/>
                      <a:pt x="119492" y="27451"/>
                      <a:pt x="119492" y="31281"/>
                    </a:cubicBezTo>
                    <a:cubicBezTo>
                      <a:pt x="119492" y="35112"/>
                      <a:pt x="116936" y="37665"/>
                      <a:pt x="113102" y="37665"/>
                    </a:cubicBezTo>
                    <a:lnTo>
                      <a:pt x="23643" y="37665"/>
                    </a:lnTo>
                    <a:cubicBezTo>
                      <a:pt x="19809" y="37665"/>
                      <a:pt x="17253" y="35112"/>
                      <a:pt x="17253" y="31281"/>
                    </a:cubicBezTo>
                    <a:cubicBezTo>
                      <a:pt x="17253" y="27451"/>
                      <a:pt x="19809" y="24897"/>
                      <a:pt x="23643" y="24897"/>
                    </a:cubicBezTo>
                    <a:moveTo>
                      <a:pt x="96488" y="151300"/>
                    </a:moveTo>
                    <a:cubicBezTo>
                      <a:pt x="97766" y="153854"/>
                      <a:pt x="97766" y="157046"/>
                      <a:pt x="97127" y="159600"/>
                    </a:cubicBezTo>
                    <a:cubicBezTo>
                      <a:pt x="95849" y="162153"/>
                      <a:pt x="93932" y="164707"/>
                      <a:pt x="91376" y="165984"/>
                    </a:cubicBezTo>
                    <a:lnTo>
                      <a:pt x="90737" y="166622"/>
                    </a:lnTo>
                    <a:cubicBezTo>
                      <a:pt x="90737" y="166622"/>
                      <a:pt x="90737" y="167260"/>
                      <a:pt x="90737" y="167260"/>
                    </a:cubicBezTo>
                    <a:cubicBezTo>
                      <a:pt x="90098" y="169814"/>
                      <a:pt x="88820" y="173006"/>
                      <a:pt x="86264" y="174283"/>
                    </a:cubicBezTo>
                    <a:cubicBezTo>
                      <a:pt x="83708" y="175560"/>
                      <a:pt x="81152" y="176198"/>
                      <a:pt x="77957" y="176198"/>
                    </a:cubicBezTo>
                    <a:cubicBezTo>
                      <a:pt x="77957" y="176198"/>
                      <a:pt x="77318" y="176198"/>
                      <a:pt x="77318" y="176198"/>
                    </a:cubicBezTo>
                    <a:lnTo>
                      <a:pt x="76679" y="176836"/>
                    </a:lnTo>
                    <a:cubicBezTo>
                      <a:pt x="72845" y="181305"/>
                      <a:pt x="65816" y="181305"/>
                      <a:pt x="61343" y="177475"/>
                    </a:cubicBezTo>
                    <a:cubicBezTo>
                      <a:pt x="61343" y="177475"/>
                      <a:pt x="61343" y="177475"/>
                      <a:pt x="60704" y="176836"/>
                    </a:cubicBezTo>
                    <a:lnTo>
                      <a:pt x="60065" y="176198"/>
                    </a:lnTo>
                    <a:lnTo>
                      <a:pt x="59426" y="176198"/>
                    </a:lnTo>
                    <a:cubicBezTo>
                      <a:pt x="53675" y="177475"/>
                      <a:pt x="47925" y="173644"/>
                      <a:pt x="46647" y="167899"/>
                    </a:cubicBezTo>
                    <a:cubicBezTo>
                      <a:pt x="46647" y="167260"/>
                      <a:pt x="46647" y="167260"/>
                      <a:pt x="46647" y="166622"/>
                    </a:cubicBezTo>
                    <a:cubicBezTo>
                      <a:pt x="46647" y="166622"/>
                      <a:pt x="46647" y="165984"/>
                      <a:pt x="46647" y="165984"/>
                    </a:cubicBezTo>
                    <a:lnTo>
                      <a:pt x="46008" y="165345"/>
                    </a:lnTo>
                    <a:cubicBezTo>
                      <a:pt x="43452" y="164068"/>
                      <a:pt x="41535" y="161515"/>
                      <a:pt x="40257" y="158961"/>
                    </a:cubicBezTo>
                    <a:cubicBezTo>
                      <a:pt x="39618" y="156408"/>
                      <a:pt x="39618" y="153216"/>
                      <a:pt x="40896" y="150662"/>
                    </a:cubicBezTo>
                    <a:cubicBezTo>
                      <a:pt x="40896" y="150024"/>
                      <a:pt x="41535" y="150024"/>
                      <a:pt x="41535" y="149385"/>
                    </a:cubicBezTo>
                    <a:cubicBezTo>
                      <a:pt x="41535" y="149385"/>
                      <a:pt x="41535" y="149385"/>
                      <a:pt x="40896" y="148747"/>
                    </a:cubicBezTo>
                    <a:cubicBezTo>
                      <a:pt x="39618" y="146193"/>
                      <a:pt x="39618" y="143001"/>
                      <a:pt x="40257" y="140448"/>
                    </a:cubicBezTo>
                    <a:cubicBezTo>
                      <a:pt x="41535" y="137894"/>
                      <a:pt x="43452" y="135340"/>
                      <a:pt x="46008" y="134064"/>
                    </a:cubicBezTo>
                    <a:lnTo>
                      <a:pt x="46647" y="133425"/>
                    </a:lnTo>
                    <a:cubicBezTo>
                      <a:pt x="46647" y="133425"/>
                      <a:pt x="46647" y="132787"/>
                      <a:pt x="46647" y="132787"/>
                    </a:cubicBezTo>
                    <a:cubicBezTo>
                      <a:pt x="47285" y="130233"/>
                      <a:pt x="48563" y="127041"/>
                      <a:pt x="51119" y="125764"/>
                    </a:cubicBezTo>
                    <a:cubicBezTo>
                      <a:pt x="53675" y="124488"/>
                      <a:pt x="56231" y="123849"/>
                      <a:pt x="59426" y="123849"/>
                    </a:cubicBezTo>
                    <a:lnTo>
                      <a:pt x="60065" y="123849"/>
                    </a:lnTo>
                    <a:lnTo>
                      <a:pt x="60704" y="123211"/>
                    </a:lnTo>
                    <a:cubicBezTo>
                      <a:pt x="64538" y="118742"/>
                      <a:pt x="71567" y="118742"/>
                      <a:pt x="76040" y="122572"/>
                    </a:cubicBezTo>
                    <a:cubicBezTo>
                      <a:pt x="76040" y="122572"/>
                      <a:pt x="76040" y="122572"/>
                      <a:pt x="76679" y="123211"/>
                    </a:cubicBezTo>
                    <a:lnTo>
                      <a:pt x="77318" y="123849"/>
                    </a:lnTo>
                    <a:lnTo>
                      <a:pt x="77957" y="123849"/>
                    </a:lnTo>
                    <a:cubicBezTo>
                      <a:pt x="80513" y="123211"/>
                      <a:pt x="83708" y="123849"/>
                      <a:pt x="86264" y="125764"/>
                    </a:cubicBezTo>
                    <a:cubicBezTo>
                      <a:pt x="88820" y="127680"/>
                      <a:pt x="90098" y="130233"/>
                      <a:pt x="90737" y="132787"/>
                    </a:cubicBezTo>
                    <a:cubicBezTo>
                      <a:pt x="90737" y="132787"/>
                      <a:pt x="90737" y="133425"/>
                      <a:pt x="90737" y="133425"/>
                    </a:cubicBezTo>
                    <a:lnTo>
                      <a:pt x="91376" y="134064"/>
                    </a:lnTo>
                    <a:cubicBezTo>
                      <a:pt x="93932" y="135340"/>
                      <a:pt x="95849" y="137894"/>
                      <a:pt x="97127" y="140448"/>
                    </a:cubicBezTo>
                    <a:cubicBezTo>
                      <a:pt x="97766" y="143001"/>
                      <a:pt x="97766" y="146193"/>
                      <a:pt x="96488" y="148747"/>
                    </a:cubicBezTo>
                    <a:lnTo>
                      <a:pt x="95849" y="149385"/>
                    </a:lnTo>
                    <a:lnTo>
                      <a:pt x="96488" y="151300"/>
                    </a:lnTo>
                    <a:moveTo>
                      <a:pt x="0" y="195988"/>
                    </a:moveTo>
                    <a:lnTo>
                      <a:pt x="136745" y="195988"/>
                    </a:lnTo>
                    <a:lnTo>
                      <a:pt x="136745" y="0"/>
                    </a:lnTo>
                    <a:lnTo>
                      <a:pt x="639" y="0"/>
                    </a:lnTo>
                    <a:lnTo>
                      <a:pt x="0" y="195988"/>
                    </a:lnTo>
                    <a:close/>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8" name="Graphic 4">
                <a:extLst>
                  <a:ext uri="{FF2B5EF4-FFF2-40B4-BE49-F238E27FC236}">
                    <a16:creationId xmlns:a16="http://schemas.microsoft.com/office/drawing/2014/main" id="{C5A03B7A-BE01-7056-51C6-6F9B2DDE00F9}"/>
                  </a:ext>
                </a:extLst>
              </p:cNvPr>
              <p:cNvSpPr/>
              <p:nvPr/>
            </p:nvSpPr>
            <p:spPr>
              <a:xfrm>
                <a:off x="1071592" y="3071496"/>
                <a:ext cx="30671" cy="33196"/>
              </a:xfrm>
              <a:custGeom>
                <a:avLst/>
                <a:gdLst>
                  <a:gd name="connsiteX0" fmla="*/ 26838 w 30671"/>
                  <a:gd name="connsiteY0" fmla="*/ 8299 h 33196"/>
                  <a:gd name="connsiteX1" fmla="*/ 24921 w 30671"/>
                  <a:gd name="connsiteY1" fmla="*/ 3192 h 33196"/>
                  <a:gd name="connsiteX2" fmla="*/ 19809 w 30671"/>
                  <a:gd name="connsiteY2" fmla="*/ 2554 h 33196"/>
                  <a:gd name="connsiteX3" fmla="*/ 15336 w 30671"/>
                  <a:gd name="connsiteY3" fmla="*/ 0 h 33196"/>
                  <a:gd name="connsiteX4" fmla="*/ 10863 w 30671"/>
                  <a:gd name="connsiteY4" fmla="*/ 2554 h 33196"/>
                  <a:gd name="connsiteX5" fmla="*/ 5751 w 30671"/>
                  <a:gd name="connsiteY5" fmla="*/ 3192 h 33196"/>
                  <a:gd name="connsiteX6" fmla="*/ 3834 w 30671"/>
                  <a:gd name="connsiteY6" fmla="*/ 8299 h 33196"/>
                  <a:gd name="connsiteX7" fmla="*/ 0 w 30671"/>
                  <a:gd name="connsiteY7" fmla="*/ 11491 h 33196"/>
                  <a:gd name="connsiteX8" fmla="*/ 0 w 30671"/>
                  <a:gd name="connsiteY8" fmla="*/ 21706 h 33196"/>
                  <a:gd name="connsiteX9" fmla="*/ 3834 w 30671"/>
                  <a:gd name="connsiteY9" fmla="*/ 24897 h 33196"/>
                  <a:gd name="connsiteX10" fmla="*/ 5751 w 30671"/>
                  <a:gd name="connsiteY10" fmla="*/ 30005 h 33196"/>
                  <a:gd name="connsiteX11" fmla="*/ 7029 w 30671"/>
                  <a:gd name="connsiteY11" fmla="*/ 30005 h 33196"/>
                  <a:gd name="connsiteX12" fmla="*/ 10863 w 30671"/>
                  <a:gd name="connsiteY12" fmla="*/ 30643 h 33196"/>
                  <a:gd name="connsiteX13" fmla="*/ 15336 w 30671"/>
                  <a:gd name="connsiteY13" fmla="*/ 33197 h 33196"/>
                  <a:gd name="connsiteX14" fmla="*/ 19809 w 30671"/>
                  <a:gd name="connsiteY14" fmla="*/ 30643 h 33196"/>
                  <a:gd name="connsiteX15" fmla="*/ 24921 w 30671"/>
                  <a:gd name="connsiteY15" fmla="*/ 30005 h 33196"/>
                  <a:gd name="connsiteX16" fmla="*/ 26838 w 30671"/>
                  <a:gd name="connsiteY16" fmla="*/ 24897 h 33196"/>
                  <a:gd name="connsiteX17" fmla="*/ 30672 w 30671"/>
                  <a:gd name="connsiteY17" fmla="*/ 21706 h 33196"/>
                  <a:gd name="connsiteX18" fmla="*/ 30672 w 30671"/>
                  <a:gd name="connsiteY18" fmla="*/ 11491 h 33196"/>
                  <a:gd name="connsiteX19" fmla="*/ 26838 w 30671"/>
                  <a:gd name="connsiteY19" fmla="*/ 8299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671" h="33196">
                    <a:moveTo>
                      <a:pt x="26838" y="8299"/>
                    </a:moveTo>
                    <a:cubicBezTo>
                      <a:pt x="25560" y="7022"/>
                      <a:pt x="24921" y="5107"/>
                      <a:pt x="24921" y="3192"/>
                    </a:cubicBezTo>
                    <a:cubicBezTo>
                      <a:pt x="23004" y="3192"/>
                      <a:pt x="21087" y="3192"/>
                      <a:pt x="19809" y="2554"/>
                    </a:cubicBezTo>
                    <a:cubicBezTo>
                      <a:pt x="17892" y="1915"/>
                      <a:pt x="16614" y="1277"/>
                      <a:pt x="15336" y="0"/>
                    </a:cubicBezTo>
                    <a:cubicBezTo>
                      <a:pt x="14058" y="1277"/>
                      <a:pt x="12780" y="1915"/>
                      <a:pt x="10863" y="2554"/>
                    </a:cubicBezTo>
                    <a:cubicBezTo>
                      <a:pt x="8946" y="3192"/>
                      <a:pt x="7668" y="3192"/>
                      <a:pt x="5751" y="3192"/>
                    </a:cubicBezTo>
                    <a:cubicBezTo>
                      <a:pt x="5112" y="5107"/>
                      <a:pt x="4473" y="6384"/>
                      <a:pt x="3834" y="8299"/>
                    </a:cubicBezTo>
                    <a:cubicBezTo>
                      <a:pt x="2556" y="9576"/>
                      <a:pt x="1278" y="10853"/>
                      <a:pt x="0" y="11491"/>
                    </a:cubicBezTo>
                    <a:cubicBezTo>
                      <a:pt x="1278" y="14683"/>
                      <a:pt x="1278" y="18514"/>
                      <a:pt x="0" y="21706"/>
                    </a:cubicBezTo>
                    <a:cubicBezTo>
                      <a:pt x="1278" y="22344"/>
                      <a:pt x="2556" y="23621"/>
                      <a:pt x="3834" y="24897"/>
                    </a:cubicBezTo>
                    <a:cubicBezTo>
                      <a:pt x="5112" y="26174"/>
                      <a:pt x="5751" y="28089"/>
                      <a:pt x="5751" y="30005"/>
                    </a:cubicBezTo>
                    <a:lnTo>
                      <a:pt x="7029" y="30005"/>
                    </a:lnTo>
                    <a:cubicBezTo>
                      <a:pt x="8307" y="30005"/>
                      <a:pt x="9585" y="30005"/>
                      <a:pt x="10863" y="30643"/>
                    </a:cubicBezTo>
                    <a:cubicBezTo>
                      <a:pt x="12780" y="31281"/>
                      <a:pt x="14058" y="31920"/>
                      <a:pt x="15336" y="33197"/>
                    </a:cubicBezTo>
                    <a:cubicBezTo>
                      <a:pt x="16614" y="31920"/>
                      <a:pt x="17892" y="31281"/>
                      <a:pt x="19809" y="30643"/>
                    </a:cubicBezTo>
                    <a:cubicBezTo>
                      <a:pt x="21726" y="30005"/>
                      <a:pt x="23004" y="30005"/>
                      <a:pt x="24921" y="30005"/>
                    </a:cubicBezTo>
                    <a:cubicBezTo>
                      <a:pt x="25560" y="28089"/>
                      <a:pt x="26199" y="26813"/>
                      <a:pt x="26838" y="24897"/>
                    </a:cubicBezTo>
                    <a:cubicBezTo>
                      <a:pt x="28116" y="23621"/>
                      <a:pt x="29394" y="22344"/>
                      <a:pt x="30672" y="21706"/>
                    </a:cubicBezTo>
                    <a:cubicBezTo>
                      <a:pt x="29394" y="18514"/>
                      <a:pt x="29394" y="14683"/>
                      <a:pt x="30672" y="11491"/>
                    </a:cubicBezTo>
                    <a:cubicBezTo>
                      <a:pt x="29394" y="11491"/>
                      <a:pt x="28116" y="10214"/>
                      <a:pt x="26838" y="8299"/>
                    </a:cubicBezTo>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15" name="Textbox 38">
              <a:extLst>
                <a:ext uri="{FF2B5EF4-FFF2-40B4-BE49-F238E27FC236}">
                  <a16:creationId xmlns:a16="http://schemas.microsoft.com/office/drawing/2014/main" id="{761BE2E7-CC49-599E-FD3A-0DE0BF8A4051}"/>
                </a:ext>
              </a:extLst>
            </p:cNvPr>
            <p:cNvSpPr txBox="1"/>
            <p:nvPr/>
          </p:nvSpPr>
          <p:spPr>
            <a:xfrm>
              <a:off x="2454184" y="3533119"/>
              <a:ext cx="1722335" cy="139007"/>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PPA</a:t>
              </a: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 («Διμερή συμφωνία πώλησης ενέργειας»)</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16" name="Straight Arrow Connector 15">
              <a:extLst>
                <a:ext uri="{FF2B5EF4-FFF2-40B4-BE49-F238E27FC236}">
                  <a16:creationId xmlns:a16="http://schemas.microsoft.com/office/drawing/2014/main" id="{AB559851-5F94-3B5E-924B-857A9F7EF0EE}"/>
                </a:ext>
              </a:extLst>
            </p:cNvPr>
            <p:cNvCxnSpPr>
              <a:cxnSpLocks/>
            </p:cNvCxnSpPr>
            <p:nvPr/>
          </p:nvCxnSpPr>
          <p:spPr>
            <a:xfrm>
              <a:off x="1667539" y="3241604"/>
              <a:ext cx="1131516" cy="0"/>
            </a:xfrm>
            <a:prstGeom prst="straightConnector1">
              <a:avLst/>
            </a:prstGeom>
            <a:ln>
              <a:prstDash val="dash"/>
              <a:tailEnd type="triangle"/>
            </a:ln>
          </p:spPr>
          <p:style>
            <a:lnRef idx="2">
              <a:schemeClr val="accent4"/>
            </a:lnRef>
            <a:fillRef idx="0">
              <a:schemeClr val="accent4"/>
            </a:fillRef>
            <a:effectRef idx="1">
              <a:schemeClr val="accent4"/>
            </a:effectRef>
            <a:fontRef idx="minor">
              <a:schemeClr val="tx1"/>
            </a:fontRef>
          </p:style>
        </p:cxnSp>
        <p:cxnSp>
          <p:nvCxnSpPr>
            <p:cNvPr id="21" name="Straight Arrow Connector 20">
              <a:extLst>
                <a:ext uri="{FF2B5EF4-FFF2-40B4-BE49-F238E27FC236}">
                  <a16:creationId xmlns:a16="http://schemas.microsoft.com/office/drawing/2014/main" id="{1053D785-4D8B-D8F1-A09C-EE51FA1AE4B0}"/>
                </a:ext>
              </a:extLst>
            </p:cNvPr>
            <p:cNvCxnSpPr>
              <a:cxnSpLocks/>
            </p:cNvCxnSpPr>
            <p:nvPr/>
          </p:nvCxnSpPr>
          <p:spPr>
            <a:xfrm flipH="1">
              <a:off x="3460626" y="3230516"/>
              <a:ext cx="1021615" cy="0"/>
            </a:xfrm>
            <a:prstGeom prst="straightConnector1">
              <a:avLst/>
            </a:prstGeom>
            <a:ln>
              <a:prstDash val="dash"/>
              <a:tailEnd type="triangle"/>
            </a:ln>
          </p:spPr>
          <p:style>
            <a:lnRef idx="2">
              <a:schemeClr val="accent4"/>
            </a:lnRef>
            <a:fillRef idx="0">
              <a:schemeClr val="accent4"/>
            </a:fillRef>
            <a:effectRef idx="1">
              <a:schemeClr val="accent4"/>
            </a:effectRef>
            <a:fontRef idx="minor">
              <a:schemeClr val="tx1"/>
            </a:fontRef>
          </p:style>
        </p:cxnSp>
        <p:grpSp>
          <p:nvGrpSpPr>
            <p:cNvPr id="24" name="Group 23">
              <a:extLst>
                <a:ext uri="{FF2B5EF4-FFF2-40B4-BE49-F238E27FC236}">
                  <a16:creationId xmlns:a16="http://schemas.microsoft.com/office/drawing/2014/main" id="{E7BF73A4-8C8E-FBBD-1150-D1D4BDD416B9}"/>
                </a:ext>
              </a:extLst>
            </p:cNvPr>
            <p:cNvGrpSpPr/>
            <p:nvPr/>
          </p:nvGrpSpPr>
          <p:grpSpPr>
            <a:xfrm>
              <a:off x="2231141" y="1358956"/>
              <a:ext cx="1868141" cy="1265450"/>
              <a:chOff x="2231141" y="1358956"/>
              <a:chExt cx="1868141" cy="1265450"/>
            </a:xfrm>
          </p:grpSpPr>
          <p:pic>
            <p:nvPicPr>
              <p:cNvPr id="33" name="Picture 32" descr="A screenshot of a computer&#10;&#10;Description automatically generated">
                <a:extLst>
                  <a:ext uri="{FF2B5EF4-FFF2-40B4-BE49-F238E27FC236}">
                    <a16:creationId xmlns:a16="http://schemas.microsoft.com/office/drawing/2014/main" id="{4EA7C01C-87AE-9CB3-69A7-F33465572F50}"/>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61804" b="72457" l="28888" r="35067">
                            <a14:foregroundMark x1="32080" y1="62956" x2="32080" y2="62956"/>
                            <a14:foregroundMark x1="30330" y1="72169" x2="30330" y2="72169"/>
                            <a14:foregroundMark x1="30072" y1="72361" x2="34089" y2="72457"/>
                            <a14:foregroundMark x1="32080" y1="63820" x2="32080" y2="63820"/>
                            <a14:foregroundMark x1="31874" y1="63052" x2="31874" y2="63052"/>
                            <a14:foregroundMark x1="32132" y1="61804" x2="32132" y2="61804"/>
                            <a14:foregroundMark x1="32132" y1="63244" x2="32132" y2="63244"/>
                          </a14:backgroundRemoval>
                        </a14:imgEffect>
                      </a14:imgLayer>
                    </a14:imgProps>
                  </a:ext>
                  <a:ext uri="{28A0092B-C50C-407E-A947-70E740481C1C}">
                    <a14:useLocalDpi xmlns:a14="http://schemas.microsoft.com/office/drawing/2010/main" val="0"/>
                  </a:ext>
                </a:extLst>
              </a:blip>
              <a:srcRect l="28141" t="61519" r="64083" b="26340"/>
              <a:stretch/>
            </p:blipFill>
            <p:spPr>
              <a:xfrm>
                <a:off x="2743608" y="1358956"/>
                <a:ext cx="851824" cy="1047953"/>
              </a:xfrm>
              <a:prstGeom prst="rect">
                <a:avLst/>
              </a:prstGeom>
            </p:spPr>
          </p:pic>
          <p:pic>
            <p:nvPicPr>
              <p:cNvPr id="34" name="Picture 33" descr="A screenshot of a computer&#10;&#10;Description automatically generated">
                <a:extLst>
                  <a:ext uri="{FF2B5EF4-FFF2-40B4-BE49-F238E27FC236}">
                    <a16:creationId xmlns:a16="http://schemas.microsoft.com/office/drawing/2014/main" id="{F28DEDED-2364-B156-C6B1-E6C63C3E5371}"/>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61804" b="72457" l="28888" r="35067">
                            <a14:foregroundMark x1="32080" y1="62956" x2="32080" y2="62956"/>
                            <a14:foregroundMark x1="30330" y1="72169" x2="30330" y2="72169"/>
                            <a14:foregroundMark x1="30072" y1="72361" x2="34089" y2="72457"/>
                            <a14:foregroundMark x1="32080" y1="63820" x2="32080" y2="63820"/>
                            <a14:foregroundMark x1="31874" y1="63052" x2="31874" y2="63052"/>
                            <a14:foregroundMark x1="32132" y1="61804" x2="32132" y2="61804"/>
                            <a14:foregroundMark x1="32132" y1="63244" x2="32132" y2="63244"/>
                          </a14:backgroundRemoval>
                        </a14:imgEffect>
                      </a14:imgLayer>
                    </a14:imgProps>
                  </a:ext>
                  <a:ext uri="{28A0092B-C50C-407E-A947-70E740481C1C}">
                    <a14:useLocalDpi xmlns:a14="http://schemas.microsoft.com/office/drawing/2010/main" val="0"/>
                  </a:ext>
                </a:extLst>
              </a:blip>
              <a:srcRect l="28141" t="61519" r="64083" b="26340"/>
              <a:stretch/>
            </p:blipFill>
            <p:spPr>
              <a:xfrm>
                <a:off x="3247458" y="1576453"/>
                <a:ext cx="851824" cy="1047953"/>
              </a:xfrm>
              <a:prstGeom prst="rect">
                <a:avLst/>
              </a:prstGeom>
            </p:spPr>
          </p:pic>
          <p:pic>
            <p:nvPicPr>
              <p:cNvPr id="35" name="Picture 34" descr="A screenshot of a computer&#10;&#10;Description automatically generated">
                <a:extLst>
                  <a:ext uri="{FF2B5EF4-FFF2-40B4-BE49-F238E27FC236}">
                    <a16:creationId xmlns:a16="http://schemas.microsoft.com/office/drawing/2014/main" id="{1D837C5D-278E-B274-A6BA-7CC8BCEBF7E1}"/>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61804" b="72457" l="28888" r="35067">
                            <a14:foregroundMark x1="32080" y1="62956" x2="32080" y2="62956"/>
                            <a14:foregroundMark x1="30330" y1="72169" x2="30330" y2="72169"/>
                            <a14:foregroundMark x1="30072" y1="72361" x2="34089" y2="72457"/>
                            <a14:foregroundMark x1="32080" y1="63820" x2="32080" y2="63820"/>
                            <a14:foregroundMark x1="31874" y1="63052" x2="31874" y2="63052"/>
                            <a14:foregroundMark x1="32132" y1="61804" x2="32132" y2="61804"/>
                            <a14:foregroundMark x1="32132" y1="63244" x2="32132" y2="63244"/>
                          </a14:backgroundRemoval>
                        </a14:imgEffect>
                      </a14:imgLayer>
                    </a14:imgProps>
                  </a:ext>
                  <a:ext uri="{28A0092B-C50C-407E-A947-70E740481C1C}">
                    <a14:useLocalDpi xmlns:a14="http://schemas.microsoft.com/office/drawing/2010/main" val="0"/>
                  </a:ext>
                </a:extLst>
              </a:blip>
              <a:srcRect l="28141" t="61519" r="64083" b="26340"/>
              <a:stretch/>
            </p:blipFill>
            <p:spPr>
              <a:xfrm>
                <a:off x="2231141" y="1576453"/>
                <a:ext cx="851824" cy="1047953"/>
              </a:xfrm>
              <a:prstGeom prst="rect">
                <a:avLst/>
              </a:prstGeom>
            </p:spPr>
          </p:pic>
        </p:grpSp>
        <p:cxnSp>
          <p:nvCxnSpPr>
            <p:cNvPr id="25" name="Connector: Elbow 24">
              <a:extLst>
                <a:ext uri="{FF2B5EF4-FFF2-40B4-BE49-F238E27FC236}">
                  <a16:creationId xmlns:a16="http://schemas.microsoft.com/office/drawing/2014/main" id="{644B193D-9A7D-3BB2-B562-45147D7EF911}"/>
                </a:ext>
              </a:extLst>
            </p:cNvPr>
            <p:cNvCxnSpPr>
              <a:stCxn id="5" idx="0"/>
            </p:cNvCxnSpPr>
            <p:nvPr/>
          </p:nvCxnSpPr>
          <p:spPr>
            <a:xfrm rot="5400000" flipH="1" flipV="1">
              <a:off x="1388753" y="1691096"/>
              <a:ext cx="591284" cy="1093492"/>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28" name="Freeform 556">
              <a:extLst>
                <a:ext uri="{FF2B5EF4-FFF2-40B4-BE49-F238E27FC236}">
                  <a16:creationId xmlns:a16="http://schemas.microsoft.com/office/drawing/2014/main" id="{854260F4-B89A-063A-CB7F-2E14296BFF38}"/>
                </a:ext>
              </a:extLst>
            </p:cNvPr>
            <p:cNvSpPr>
              <a:spLocks noChangeAspect="1" noEditPoints="1"/>
            </p:cNvSpPr>
            <p:nvPr/>
          </p:nvSpPr>
          <p:spPr bwMode="auto">
            <a:xfrm>
              <a:off x="1390918" y="1629831"/>
              <a:ext cx="538270" cy="549593"/>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29" name="Connector: Elbow 28">
              <a:extLst>
                <a:ext uri="{FF2B5EF4-FFF2-40B4-BE49-F238E27FC236}">
                  <a16:creationId xmlns:a16="http://schemas.microsoft.com/office/drawing/2014/main" id="{DEF9EB6E-7807-7F9B-167E-2A1573DDF94D}"/>
                </a:ext>
              </a:extLst>
            </p:cNvPr>
            <p:cNvCxnSpPr>
              <a:cxnSpLocks/>
            </p:cNvCxnSpPr>
            <p:nvPr/>
          </p:nvCxnSpPr>
          <p:spPr>
            <a:xfrm>
              <a:off x="4047135" y="1884108"/>
              <a:ext cx="702891" cy="803081"/>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30" name="Freeform 556">
              <a:extLst>
                <a:ext uri="{FF2B5EF4-FFF2-40B4-BE49-F238E27FC236}">
                  <a16:creationId xmlns:a16="http://schemas.microsoft.com/office/drawing/2014/main" id="{2DF53E24-F2F2-771F-2DFB-4BD2915C7330}"/>
                </a:ext>
              </a:extLst>
            </p:cNvPr>
            <p:cNvSpPr>
              <a:spLocks noChangeAspect="1" noEditPoints="1"/>
            </p:cNvSpPr>
            <p:nvPr/>
          </p:nvSpPr>
          <p:spPr bwMode="auto">
            <a:xfrm>
              <a:off x="4176457" y="1617779"/>
              <a:ext cx="538270" cy="549593"/>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31" name="Connector: Curved 30">
              <a:extLst>
                <a:ext uri="{FF2B5EF4-FFF2-40B4-BE49-F238E27FC236}">
                  <a16:creationId xmlns:a16="http://schemas.microsoft.com/office/drawing/2014/main" id="{66CB07A4-1ACD-E069-C0D2-30E46B70E004}"/>
                </a:ext>
              </a:extLst>
            </p:cNvPr>
            <p:cNvCxnSpPr>
              <a:stCxn id="6" idx="2"/>
            </p:cNvCxnSpPr>
            <p:nvPr/>
          </p:nvCxnSpPr>
          <p:spPr>
            <a:xfrm rot="5400000">
              <a:off x="4056121" y="3960114"/>
              <a:ext cx="691473" cy="1456973"/>
            </a:xfrm>
            <a:prstGeom prst="curvedConnector2">
              <a:avLst/>
            </a:prstGeom>
            <a:ln>
              <a:solidFill>
                <a:schemeClr val="accent4"/>
              </a:solidFill>
              <a:tailEnd type="triangle"/>
            </a:ln>
          </p:spPr>
          <p:style>
            <a:lnRef idx="2">
              <a:schemeClr val="accent2"/>
            </a:lnRef>
            <a:fillRef idx="0">
              <a:schemeClr val="accent2"/>
            </a:fillRef>
            <a:effectRef idx="1">
              <a:schemeClr val="accent2"/>
            </a:effectRef>
            <a:fontRef idx="minor">
              <a:schemeClr val="tx1"/>
            </a:fontRef>
          </p:style>
        </p:cxnSp>
        <p:cxnSp>
          <p:nvCxnSpPr>
            <p:cNvPr id="32" name="Connector: Curved 31">
              <a:extLst>
                <a:ext uri="{FF2B5EF4-FFF2-40B4-BE49-F238E27FC236}">
                  <a16:creationId xmlns:a16="http://schemas.microsoft.com/office/drawing/2014/main" id="{C79F4EA5-D2B5-39CF-F829-E9ED15D061FD}"/>
                </a:ext>
              </a:extLst>
            </p:cNvPr>
            <p:cNvCxnSpPr>
              <a:cxnSpLocks/>
              <a:endCxn id="5" idx="2"/>
            </p:cNvCxnSpPr>
            <p:nvPr/>
          </p:nvCxnSpPr>
          <p:spPr>
            <a:xfrm rot="10800000">
              <a:off x="1137649" y="4361213"/>
              <a:ext cx="1657068" cy="637607"/>
            </a:xfrm>
            <a:prstGeom prst="curvedConnector2">
              <a:avLst/>
            </a:prstGeom>
            <a:ln>
              <a:solidFill>
                <a:schemeClr val="accent4"/>
              </a:solidFill>
              <a:tailEnd type="triangle"/>
            </a:ln>
          </p:spPr>
          <p:style>
            <a:lnRef idx="2">
              <a:schemeClr val="accent2"/>
            </a:lnRef>
            <a:fillRef idx="0">
              <a:schemeClr val="accent2"/>
            </a:fillRef>
            <a:effectRef idx="1">
              <a:schemeClr val="accent2"/>
            </a:effectRef>
            <a:fontRef idx="minor">
              <a:schemeClr val="tx1"/>
            </a:fontRef>
          </p:style>
        </p:cxnSp>
      </p:grpSp>
      <p:sp>
        <p:nvSpPr>
          <p:cNvPr id="51" name="Content Placeholder 2">
            <a:extLst>
              <a:ext uri="{FF2B5EF4-FFF2-40B4-BE49-F238E27FC236}">
                <a16:creationId xmlns:a16="http://schemas.microsoft.com/office/drawing/2014/main" id="{AA0C8C28-56B9-98C7-6EDD-37A533A8C37C}"/>
              </a:ext>
            </a:extLst>
          </p:cNvPr>
          <p:cNvSpPr txBox="1">
            <a:spLocks/>
          </p:cNvSpPr>
          <p:nvPr/>
        </p:nvSpPr>
        <p:spPr>
          <a:xfrm>
            <a:off x="6100027" y="1271722"/>
            <a:ext cx="5748539" cy="4962671"/>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lnSpc>
                <a:spcPct val="115000"/>
              </a:lnSpc>
              <a:buFont typeface="Arial" panose="020B0604020202020204" pitchFamily="34" charset="0"/>
              <a:buChar char="•"/>
            </a:pPr>
            <a:r>
              <a:rPr lang="en-US" sz="1400" b="1" dirty="0">
                <a:solidFill>
                  <a:schemeClr val="accent2"/>
                </a:solidFill>
                <a:latin typeface="Calibri" panose="020F0502020204030204" pitchFamily="34" charset="0"/>
                <a:ea typeface="Calibri Light" panose="020F0302020204030204" pitchFamily="34" charset="0"/>
                <a:cs typeface="Calibri" panose="020F0502020204030204" pitchFamily="34" charset="0"/>
              </a:rPr>
              <a:t>PPA</a:t>
            </a:r>
            <a:r>
              <a:rPr lang="el-GR" sz="1400" b="1" dirty="0">
                <a:solidFill>
                  <a:schemeClr val="accent2"/>
                </a:solidFill>
                <a:latin typeface="Calibri" panose="020F0502020204030204" pitchFamily="34" charset="0"/>
                <a:ea typeface="Calibri Light" panose="020F0302020204030204" pitchFamily="34" charset="0"/>
                <a:cs typeface="Calibri" panose="020F0502020204030204" pitchFamily="34" charset="0"/>
              </a:rPr>
              <a:t> (Διμερής συμφωνία πώλησης ενέργειας) </a:t>
            </a:r>
            <a:r>
              <a:rPr lang="el-GR" sz="1400" dirty="0">
                <a:latin typeface="Calibri" panose="020F0502020204030204" pitchFamily="34" charset="0"/>
                <a:ea typeface="Calibri Light" panose="020F0302020204030204" pitchFamily="34" charset="0"/>
                <a:cs typeface="Calibri" panose="020F0502020204030204" pitchFamily="34" charset="0"/>
              </a:rPr>
              <a:t>είναι μια μακροπρόθεσμη διμερής σύμβαση με την οποία τα συμβεβλημένα μέρη συμφωνούν απευθείας την αγοραπωλησία ενέργειας.</a:t>
            </a:r>
          </a:p>
          <a:p>
            <a:pPr marL="171450" indent="-171450">
              <a:lnSpc>
                <a:spcPct val="115000"/>
              </a:lnSpc>
              <a:buFont typeface="Arial" panose="020B0604020202020204" pitchFamily="34" charset="0"/>
              <a:buChar char="•"/>
            </a:pPr>
            <a:r>
              <a:rPr lang="el-GR" sz="1400" b="1" dirty="0">
                <a:solidFill>
                  <a:schemeClr val="accent2"/>
                </a:solidFill>
                <a:latin typeface="Calibri" panose="020F0502020204030204" pitchFamily="34" charset="0"/>
                <a:cs typeface="Calibri" panose="020F0502020204030204" pitchFamily="34" charset="0"/>
              </a:rPr>
              <a:t>Πλεονεκτήματα</a:t>
            </a:r>
            <a:r>
              <a:rPr lang="el-GR" sz="1400" dirty="0">
                <a:latin typeface="Calibri" panose="020F0502020204030204" pitchFamily="34" charset="0"/>
                <a:cs typeface="Calibri" panose="020F0502020204030204" pitchFamily="34" charset="0"/>
              </a:rPr>
              <a:t>:</a:t>
            </a:r>
          </a:p>
          <a:p>
            <a:pPr marL="406652" lvl="2" indent="-171450">
              <a:lnSpc>
                <a:spcPct val="115000"/>
              </a:lnSpc>
              <a:buFont typeface="Wingdings" panose="05000000000000000000" pitchFamily="2" charset="2"/>
              <a:buChar char="ü"/>
            </a:pPr>
            <a:r>
              <a:rPr lang="el-GR" sz="1400" b="1" dirty="0">
                <a:latin typeface="Calibri" panose="020F0502020204030204" pitchFamily="34" charset="0"/>
                <a:cs typeface="Calibri" panose="020F0502020204030204" pitchFamily="34" charset="0"/>
              </a:rPr>
              <a:t>Εξασφάλιση χρηματοδότησης </a:t>
            </a:r>
            <a:r>
              <a:rPr lang="el-GR" sz="1400" dirty="0">
                <a:latin typeface="Calibri" panose="020F0502020204030204" pitchFamily="34" charset="0"/>
                <a:cs typeface="Calibri" panose="020F0502020204030204" pitchFamily="34" charset="0"/>
              </a:rPr>
              <a:t>για την υλοποίηση έργων ΑΠΕ;</a:t>
            </a:r>
          </a:p>
          <a:p>
            <a:pPr marL="406652" lvl="2" indent="-171450">
              <a:lnSpc>
                <a:spcPct val="115000"/>
              </a:lnSpc>
              <a:buFont typeface="Wingdings" panose="05000000000000000000" pitchFamily="2" charset="2"/>
              <a:buChar char="ü"/>
            </a:pPr>
            <a:r>
              <a:rPr lang="el-GR" sz="1400" b="1" dirty="0">
                <a:latin typeface="Calibri" panose="020F0502020204030204" pitchFamily="34" charset="0"/>
                <a:cs typeface="Calibri" panose="020F0502020204030204" pitchFamily="34" charset="0"/>
              </a:rPr>
              <a:t>Εξασφάλιση συγκεκριμένης – μη μεταβλητής – τιμής</a:t>
            </a:r>
            <a:r>
              <a:rPr lang="el-GR" sz="1400" dirty="0">
                <a:latin typeface="Calibri" panose="020F0502020204030204" pitchFamily="34" charset="0"/>
                <a:cs typeface="Calibri" panose="020F0502020204030204" pitchFamily="34" charset="0"/>
              </a:rPr>
              <a:t>, καθιστώντας δυνατή την πρόβλεψη των μελλοντικών ταμειακών ροών των έργων;</a:t>
            </a:r>
          </a:p>
          <a:p>
            <a:pPr marL="406652" lvl="2" indent="-171450">
              <a:lnSpc>
                <a:spcPct val="115000"/>
              </a:lnSpc>
              <a:buFont typeface="Wingdings" panose="05000000000000000000" pitchFamily="2" charset="2"/>
              <a:buChar char="ü"/>
            </a:pPr>
            <a:r>
              <a:rPr lang="el-GR" sz="1400" dirty="0">
                <a:latin typeface="Calibri" panose="020F0502020204030204" pitchFamily="34" charset="0"/>
                <a:cs typeface="Calibri" panose="020F0502020204030204" pitchFamily="34" charset="0"/>
              </a:rPr>
              <a:t>Ενίσχυση της </a:t>
            </a:r>
            <a:r>
              <a:rPr lang="el-GR" sz="1400" b="1" dirty="0">
                <a:latin typeface="Calibri" panose="020F0502020204030204" pitchFamily="34" charset="0"/>
                <a:cs typeface="Calibri" panose="020F0502020204030204" pitchFamily="34" charset="0"/>
              </a:rPr>
              <a:t>πράσινης μετάβασης</a:t>
            </a:r>
            <a:r>
              <a:rPr lang="el-GR" sz="1400" dirty="0">
                <a:latin typeface="Calibri" panose="020F0502020204030204" pitchFamily="34" charset="0"/>
                <a:cs typeface="Calibri" panose="020F0502020204030204" pitchFamily="34" charset="0"/>
              </a:rPr>
              <a:t>;</a:t>
            </a:r>
          </a:p>
          <a:p>
            <a:pPr marL="406652" lvl="2" indent="-171450">
              <a:lnSpc>
                <a:spcPct val="115000"/>
              </a:lnSpc>
              <a:buFont typeface="Wingdings" panose="05000000000000000000" pitchFamily="2" charset="2"/>
              <a:buChar char="ü"/>
            </a:pPr>
            <a:r>
              <a:rPr lang="el-GR" sz="1400" b="1" dirty="0">
                <a:latin typeface="Calibri" panose="020F0502020204030204" pitchFamily="34" charset="0"/>
                <a:cs typeface="Calibri" panose="020F0502020204030204" pitchFamily="34" charset="0"/>
              </a:rPr>
              <a:t>Αντιστάθμιση κινδύνου για τον αγοραστή/καταναλωτή</a:t>
            </a:r>
            <a:r>
              <a:rPr lang="el-GR" sz="1400" dirty="0">
                <a:latin typeface="Calibri" panose="020F0502020204030204" pitchFamily="34" charset="0"/>
                <a:cs typeface="Calibri" panose="020F0502020204030204" pitchFamily="34" charset="0"/>
              </a:rPr>
              <a:t>, καθώς η σταθερή τιμή που εξασφαλίζει τον βοηθά να ελέγχει τα λειτουργικά έξοδα της επιχείρησης του;</a:t>
            </a:r>
          </a:p>
          <a:p>
            <a:pPr marL="406652" lvl="2" indent="-171450">
              <a:lnSpc>
                <a:spcPct val="115000"/>
              </a:lnSpc>
              <a:buFont typeface="Wingdings" panose="05000000000000000000" pitchFamily="2" charset="2"/>
              <a:buChar char="ü"/>
            </a:pPr>
            <a:r>
              <a:rPr lang="el-GR" sz="1400" dirty="0">
                <a:latin typeface="Calibri" panose="020F0502020204030204" pitchFamily="34" charset="0"/>
                <a:cs typeface="Calibri" panose="020F0502020204030204" pitchFamily="34" charset="0"/>
              </a:rPr>
              <a:t>Ένα έργο ΑΠΕ, με την επίδειξη διμερών συμφωνιών πώλησης της μελλοντικά παραγόμενης ενέργειας του, αποκτά </a:t>
            </a:r>
            <a:r>
              <a:rPr lang="el-GR" sz="1400" b="1" dirty="0">
                <a:latin typeface="Calibri" panose="020F0502020204030204" pitchFamily="34" charset="0"/>
                <a:cs typeface="Calibri" panose="020F0502020204030204" pitchFamily="34" charset="0"/>
              </a:rPr>
              <a:t>προτεραιότητα στην απόκτηση όρων σύνδεσης στο δίκτυο.</a:t>
            </a:r>
            <a:endParaRPr lang="en-US" sz="1400" b="1" dirty="0">
              <a:latin typeface="Calibri" panose="020F0502020204030204" pitchFamily="34" charset="0"/>
              <a:cs typeface="Calibri" panose="020F0502020204030204" pitchFamily="34" charset="0"/>
            </a:endParaRPr>
          </a:p>
          <a:p>
            <a:pPr marL="406652" lvl="2" indent="-171450">
              <a:lnSpc>
                <a:spcPct val="115000"/>
              </a:lnSpc>
              <a:buFont typeface="Wingdings" panose="05000000000000000000" pitchFamily="2" charset="2"/>
              <a:buChar char="ü"/>
            </a:pPr>
            <a:r>
              <a:rPr lang="el-GR" sz="1400" dirty="0">
                <a:latin typeface="Calibri" panose="020F0502020204030204" pitchFamily="34" charset="0"/>
                <a:cs typeface="Calibri" panose="020F0502020204030204" pitchFamily="34" charset="0"/>
              </a:rPr>
              <a:t>Διευκολύνει την </a:t>
            </a:r>
            <a:r>
              <a:rPr lang="el-GR" sz="1400" b="1" dirty="0">
                <a:latin typeface="Calibri" panose="020F0502020204030204" pitchFamily="34" charset="0"/>
                <a:cs typeface="Calibri" panose="020F0502020204030204" pitchFamily="34" charset="0"/>
              </a:rPr>
              <a:t>περαιτέρω ανάπτυξη των έργων ΑΠΕ </a:t>
            </a:r>
            <a:r>
              <a:rPr lang="el-GR" sz="1400" dirty="0">
                <a:latin typeface="Calibri" panose="020F0502020204030204" pitchFamily="34" charset="0"/>
                <a:cs typeface="Calibri" panose="020F0502020204030204" pitchFamily="34" charset="0"/>
              </a:rPr>
              <a:t>και την </a:t>
            </a:r>
            <a:r>
              <a:rPr lang="el-GR" sz="1400" b="1" dirty="0">
                <a:latin typeface="Calibri" panose="020F0502020204030204" pitchFamily="34" charset="0"/>
                <a:cs typeface="Calibri" panose="020F0502020204030204" pitchFamily="34" charset="0"/>
              </a:rPr>
              <a:t>ενίσχυση της ανάπτυξης </a:t>
            </a:r>
            <a:r>
              <a:rPr lang="el-GR" sz="1400" dirty="0">
                <a:latin typeface="Calibri" panose="020F0502020204030204" pitchFamily="34" charset="0"/>
                <a:cs typeface="Calibri" panose="020F0502020204030204" pitchFamily="34" charset="0"/>
              </a:rPr>
              <a:t>και της </a:t>
            </a:r>
            <a:r>
              <a:rPr lang="el-GR" sz="1400" b="1" dirty="0">
                <a:latin typeface="Calibri" panose="020F0502020204030204" pitchFamily="34" charset="0"/>
                <a:cs typeface="Calibri" panose="020F0502020204030204" pitchFamily="34" charset="0"/>
              </a:rPr>
              <a:t>ενεργειακής ασφάλειας </a:t>
            </a:r>
            <a:r>
              <a:rPr lang="el-GR" sz="1400" dirty="0">
                <a:latin typeface="Calibri" panose="020F0502020204030204" pitchFamily="34" charset="0"/>
                <a:cs typeface="Calibri" panose="020F0502020204030204" pitchFamily="34" charset="0"/>
              </a:rPr>
              <a:t>της χώρας</a:t>
            </a:r>
          </a:p>
          <a:p>
            <a:pPr>
              <a:lnSpc>
                <a:spcPct val="115000"/>
              </a:lnSpc>
            </a:pPr>
            <a:endParaRPr lang="en-US" sz="800" dirty="0">
              <a:latin typeface="Calibri Light" panose="020F0302020204030204" pitchFamily="34" charset="0"/>
              <a:ea typeface="Calibri Light" panose="020F0302020204030204" pitchFamily="34" charset="0"/>
              <a:cs typeface="Times New Roman" panose="02020603050405020304" pitchFamily="18" charset="0"/>
            </a:endParaRPr>
          </a:p>
          <a:p>
            <a:pPr>
              <a:spcAft>
                <a:spcPts val="600"/>
              </a:spcAft>
            </a:pPr>
            <a:endParaRPr lang="en-US" sz="1200" dirty="0">
              <a:latin typeface="Calibri" panose="020F0502020204030204" pitchFamily="34" charset="0"/>
              <a:cs typeface="Calibri" panose="020F0502020204030204" pitchFamily="34" charset="0"/>
            </a:endParaRPr>
          </a:p>
        </p:txBody>
      </p:sp>
    </p:spTree>
    <p:custDataLst>
      <p:custData r:id="rId1"/>
      <p:custData r:id="rId2"/>
      <p:tags r:id="rId3"/>
    </p:custDataLst>
    <p:extLst>
      <p:ext uri="{BB962C8B-B14F-4D97-AF65-F5344CB8AC3E}">
        <p14:creationId xmlns:p14="http://schemas.microsoft.com/office/powerpoint/2010/main" val="48114305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2AC4B84-38F0-D249-254D-4BE0B996D1C5}"/>
              </a:ext>
            </a:extLst>
          </p:cNvPr>
          <p:cNvSpPr txBox="1">
            <a:spLocks/>
          </p:cNvSpPr>
          <p:nvPr/>
        </p:nvSpPr>
        <p:spPr>
          <a:xfrm>
            <a:off x="6094755" y="1656012"/>
            <a:ext cx="5766507" cy="4962671"/>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lnSpc>
                <a:spcPct val="115000"/>
              </a:lnSpc>
              <a:buFont typeface="Arial" panose="020B0604020202020204" pitchFamily="34" charset="0"/>
              <a:buChar char="•"/>
            </a:pPr>
            <a:r>
              <a:rPr lang="el-GR" sz="1400" b="1" dirty="0">
                <a:solidFill>
                  <a:schemeClr val="accent2"/>
                </a:solidFill>
                <a:latin typeface="Calibri" panose="020F0502020204030204" pitchFamily="34" charset="0"/>
                <a:cs typeface="Calibri" panose="020F0502020204030204" pitchFamily="34" charset="0"/>
              </a:rPr>
              <a:t>Ο Πωλητής</a:t>
            </a:r>
            <a:r>
              <a:rPr lang="el-GR" sz="1400" dirty="0">
                <a:latin typeface="Calibri" panose="020F0502020204030204" pitchFamily="34" charset="0"/>
                <a:cs typeface="Calibri" panose="020F0502020204030204" pitchFamily="34" charset="0"/>
              </a:rPr>
              <a:t> (παραγωγός) πουλάει/παραδίδει </a:t>
            </a:r>
            <a:r>
              <a:rPr lang="el-GR" sz="2400" b="1" dirty="0">
                <a:solidFill>
                  <a:srgbClr val="00A3E0"/>
                </a:solidFill>
                <a:latin typeface="Calibri" panose="020F0502020204030204" pitchFamily="34" charset="0"/>
                <a:cs typeface="Calibri" panose="020F0502020204030204" pitchFamily="34" charset="0"/>
              </a:rPr>
              <a:t>ενέργεια</a:t>
            </a:r>
            <a:r>
              <a:rPr lang="el-GR" sz="1400" dirty="0">
                <a:latin typeface="Calibri" panose="020F0502020204030204" pitchFamily="34" charset="0"/>
                <a:cs typeface="Calibri" panose="020F0502020204030204" pitchFamily="34" charset="0"/>
              </a:rPr>
              <a:t> </a:t>
            </a:r>
            <a:r>
              <a:rPr lang="el-GR" sz="1400" b="1" dirty="0">
                <a:solidFill>
                  <a:schemeClr val="accent2"/>
                </a:solidFill>
                <a:latin typeface="Calibri" panose="020F0502020204030204" pitchFamily="34" charset="0"/>
                <a:cs typeface="Calibri" panose="020F0502020204030204" pitchFamily="34" charset="0"/>
              </a:rPr>
              <a:t>στον Αγοραστή </a:t>
            </a:r>
            <a:r>
              <a:rPr lang="el-GR" sz="1400" dirty="0">
                <a:latin typeface="Calibri" panose="020F0502020204030204" pitchFamily="34" charset="0"/>
                <a:cs typeface="Calibri" panose="020F0502020204030204" pitchFamily="34" charset="0"/>
              </a:rPr>
              <a:t>(παραγωγός/προμηθευτή, καταναλωτή κλπ.) χωρίς φυσική μεταβίβαση της κυριότητας.</a:t>
            </a:r>
          </a:p>
          <a:p>
            <a:pPr marL="171450" indent="-171450">
              <a:lnSpc>
                <a:spcPct val="115000"/>
              </a:lnSpc>
              <a:buFont typeface="Arial" panose="020B0604020202020204" pitchFamily="34" charset="0"/>
              <a:buChar char="•"/>
            </a:pPr>
            <a:r>
              <a:rPr lang="el-GR" sz="1400" b="1" dirty="0">
                <a:solidFill>
                  <a:schemeClr val="accent2"/>
                </a:solidFill>
                <a:latin typeface="Calibri" panose="020F0502020204030204" pitchFamily="34" charset="0"/>
                <a:cs typeface="Calibri" panose="020F0502020204030204" pitchFamily="34" charset="0"/>
              </a:rPr>
              <a:t>Η Πώληση </a:t>
            </a:r>
            <a:r>
              <a:rPr lang="el-GR" sz="1400" dirty="0">
                <a:latin typeface="Calibri" panose="020F0502020204030204" pitchFamily="34" charset="0"/>
                <a:cs typeface="Calibri" panose="020F0502020204030204" pitchFamily="34" charset="0"/>
              </a:rPr>
              <a:t>πραγματοποιείται μέσω του Ελληνικού Χρηματιστηρίου Ενέργειας («ΕΧΕ»).</a:t>
            </a:r>
            <a:r>
              <a:rPr lang="el-GR" sz="1400" b="1" dirty="0">
                <a:latin typeface="Calibri" panose="020F0502020204030204" pitchFamily="34" charset="0"/>
                <a:cs typeface="Calibri" panose="020F0502020204030204" pitchFamily="34" charset="0"/>
              </a:rPr>
              <a:t> Συγκεκριμένα, </a:t>
            </a:r>
            <a:r>
              <a:rPr lang="el-GR" sz="1400" dirty="0">
                <a:latin typeface="Calibri" panose="020F0502020204030204" pitchFamily="34" charset="0"/>
                <a:cs typeface="Calibri" panose="020F0502020204030204" pitchFamily="34" charset="0"/>
              </a:rPr>
              <a:t>τα δύο μέρη δηλώνουν την ποσότητα που συμφωνήθηκε μεταξύ τους στο ΕΧΕ.</a:t>
            </a:r>
          </a:p>
          <a:p>
            <a:pPr marL="171450" indent="-171450">
              <a:lnSpc>
                <a:spcPct val="115000"/>
              </a:lnSpc>
              <a:buFont typeface="Arial" panose="020B0604020202020204" pitchFamily="34" charset="0"/>
              <a:buChar char="•"/>
            </a:pPr>
            <a:r>
              <a:rPr lang="el-GR" sz="1400" dirty="0">
                <a:latin typeface="Calibri" panose="020F0502020204030204" pitchFamily="34" charset="0"/>
                <a:cs typeface="Calibri" panose="020F0502020204030204" pitchFamily="34" charset="0"/>
              </a:rPr>
              <a:t>Η τυχόν </a:t>
            </a:r>
            <a:r>
              <a:rPr lang="el-GR" sz="1400" b="1" dirty="0">
                <a:latin typeface="Calibri" panose="020F0502020204030204" pitchFamily="34" charset="0"/>
                <a:cs typeface="Calibri" panose="020F0502020204030204" pitchFamily="34" charset="0"/>
              </a:rPr>
              <a:t>διαφορά</a:t>
            </a:r>
            <a:r>
              <a:rPr lang="el-GR" sz="1400" dirty="0">
                <a:latin typeface="Calibri" panose="020F0502020204030204" pitchFamily="34" charset="0"/>
                <a:cs typeface="Calibri" panose="020F0502020204030204" pitchFamily="34" charset="0"/>
              </a:rPr>
              <a:t> που προκύπτει μεταξύ της τιμής που έχει συμφωνηθεί στο </a:t>
            </a:r>
            <a:r>
              <a:rPr lang="en-US" sz="1400" dirty="0">
                <a:latin typeface="Calibri" panose="020F0502020204030204" pitchFamily="34" charset="0"/>
                <a:cs typeface="Calibri" panose="020F0502020204030204" pitchFamily="34" charset="0"/>
              </a:rPr>
              <a:t>PPA </a:t>
            </a:r>
            <a:r>
              <a:rPr lang="el-GR" sz="1400" dirty="0">
                <a:latin typeface="Calibri" panose="020F0502020204030204" pitchFamily="34" charset="0"/>
                <a:cs typeface="Calibri" panose="020F0502020204030204" pitchFamily="34" charset="0"/>
              </a:rPr>
              <a:t>και της Τιμής Εκκαθάρισης της αγοράς στο ΕΧΕ </a:t>
            </a:r>
            <a:r>
              <a:rPr lang="el-GR" sz="1400" b="1" dirty="0">
                <a:latin typeface="Calibri" panose="020F0502020204030204" pitchFamily="34" charset="0"/>
                <a:cs typeface="Calibri" panose="020F0502020204030204" pitchFamily="34" charset="0"/>
              </a:rPr>
              <a:t>χρεοπιστώνεται μεταξύ των μερών </a:t>
            </a:r>
            <a:r>
              <a:rPr lang="el-GR" sz="1400" dirty="0">
                <a:latin typeface="Calibri" panose="020F0502020204030204" pitchFamily="34" charset="0"/>
                <a:cs typeface="Calibri" panose="020F0502020204030204" pitchFamily="34" charset="0"/>
              </a:rPr>
              <a:t>βάσει της μεταξύ τους σύμβασης.</a:t>
            </a:r>
          </a:p>
          <a:p>
            <a:pPr marL="171450" indent="-171450">
              <a:lnSpc>
                <a:spcPct val="115000"/>
              </a:lnSpc>
              <a:buFont typeface="Arial" panose="020B0604020202020204" pitchFamily="34" charset="0"/>
              <a:buChar char="•"/>
            </a:pPr>
            <a:r>
              <a:rPr lang="el-GR" sz="1400" b="1" dirty="0">
                <a:solidFill>
                  <a:schemeClr val="accent2"/>
                </a:solidFill>
                <a:latin typeface="Calibri" panose="020F0502020204030204" pitchFamily="34" charset="0"/>
                <a:cs typeface="Calibri" panose="020F0502020204030204" pitchFamily="34" charset="0"/>
              </a:rPr>
              <a:t>Ο Πωλητής </a:t>
            </a:r>
            <a:r>
              <a:rPr lang="el-GR" sz="1400" dirty="0">
                <a:latin typeface="Calibri" panose="020F0502020204030204" pitchFamily="34" charset="0"/>
                <a:cs typeface="Calibri" panose="020F0502020204030204" pitchFamily="34" charset="0"/>
              </a:rPr>
              <a:t>μεταβιβάζει τις Εγγυήσεις Προέλευσης ή Πιστοποιητικά Ανανεώσιμων Πηγών (</a:t>
            </a:r>
            <a:r>
              <a:rPr lang="el-GR" sz="1400" dirty="0" err="1">
                <a:latin typeface="Calibri" panose="020F0502020204030204" pitchFamily="34" charset="0"/>
                <a:cs typeface="Calibri" panose="020F0502020204030204" pitchFamily="34" charset="0"/>
              </a:rPr>
              <a:t>GoOs</a:t>
            </a:r>
            <a:r>
              <a:rPr lang="el-GR" sz="1400" dirty="0">
                <a:latin typeface="Calibri" panose="020F0502020204030204" pitchFamily="34" charset="0"/>
                <a:cs typeface="Calibri" panose="020F0502020204030204" pitchFamily="34" charset="0"/>
              </a:rPr>
              <a:t>/</a:t>
            </a:r>
            <a:r>
              <a:rPr lang="el-GR" sz="1400" dirty="0" err="1">
                <a:latin typeface="Calibri" panose="020F0502020204030204" pitchFamily="34" charset="0"/>
                <a:cs typeface="Calibri" panose="020F0502020204030204" pitchFamily="34" charset="0"/>
              </a:rPr>
              <a:t>RECs</a:t>
            </a:r>
            <a:r>
              <a:rPr lang="el-GR" sz="1400" dirty="0">
                <a:latin typeface="Calibri" panose="020F0502020204030204" pitchFamily="34" charset="0"/>
                <a:cs typeface="Calibri" panose="020F0502020204030204" pitchFamily="34" charset="0"/>
              </a:rPr>
              <a:t>) για να εγγυηθεί ότι η ηλεκτρική ενέργεια παράγεται από ανανεώσιμες πηγές (όπου υπάρχουν).</a:t>
            </a:r>
          </a:p>
          <a:p>
            <a:pPr marL="171450" indent="-171450">
              <a:lnSpc>
                <a:spcPct val="115000"/>
              </a:lnSpc>
              <a:buFont typeface="Arial" panose="020B0604020202020204" pitchFamily="34" charset="0"/>
              <a:buChar char="•"/>
            </a:pPr>
            <a:r>
              <a:rPr lang="el-GR" sz="1400" dirty="0">
                <a:latin typeface="Calibri" panose="020F0502020204030204" pitchFamily="34" charset="0"/>
                <a:cs typeface="Calibri" panose="020F0502020204030204" pitchFamily="34" charset="0"/>
              </a:rPr>
              <a:t>Αποτελούν την δημοφιλέστερη μορφή συμβάσης</a:t>
            </a:r>
            <a:r>
              <a:rPr lang="en-US" sz="1400" dirty="0">
                <a:latin typeface="Calibri" panose="020F0502020204030204" pitchFamily="34" charset="0"/>
                <a:cs typeface="Calibri" panose="020F0502020204030204" pitchFamily="34" charset="0"/>
              </a:rPr>
              <a:t> PPA </a:t>
            </a:r>
            <a:r>
              <a:rPr lang="el-GR" sz="1400" dirty="0">
                <a:latin typeface="Calibri" panose="020F0502020204030204" pitchFamily="34" charset="0"/>
                <a:cs typeface="Calibri" panose="020F0502020204030204" pitchFamily="34" charset="0"/>
              </a:rPr>
              <a:t>στην Ελλάδα (περ. 30 έως σήμερα)</a:t>
            </a:r>
            <a:endParaRPr lang="en-US" sz="1400" dirty="0">
              <a:latin typeface="Calibri" panose="020F0502020204030204" pitchFamily="34" charset="0"/>
              <a:cs typeface="Calibri" panose="020F0502020204030204" pitchFamily="34" charset="0"/>
            </a:endParaRPr>
          </a:p>
          <a:p>
            <a:pPr marL="171450" indent="-171450">
              <a:lnSpc>
                <a:spcPct val="115000"/>
              </a:lnSpc>
              <a:buFont typeface="Arial" panose="020B0604020202020204" pitchFamily="34" charset="0"/>
              <a:buChar char="•"/>
            </a:pPr>
            <a:endParaRPr lang="el-GR" sz="1400" dirty="0">
              <a:latin typeface="Calibri" panose="020F0502020204030204" pitchFamily="34" charset="0"/>
              <a:ea typeface="Calibri Light" panose="020F0302020204030204" pitchFamily="34" charset="0"/>
              <a:cs typeface="Calibri" panose="020F0502020204030204" pitchFamily="34" charset="0"/>
            </a:endParaRPr>
          </a:p>
          <a:p>
            <a:pPr>
              <a:spcAft>
                <a:spcPts val="600"/>
              </a:spcAft>
            </a:pPr>
            <a:endParaRPr lang="en-US" sz="1200" dirty="0">
              <a:latin typeface="Calibri" panose="020F0502020204030204" pitchFamily="34" charset="0"/>
              <a:cs typeface="Calibri" panose="020F0502020204030204" pitchFamily="34" charset="0"/>
            </a:endParaRPr>
          </a:p>
        </p:txBody>
      </p:sp>
      <p:sp>
        <p:nvSpPr>
          <p:cNvPr id="14" name="Text Placeholder 3">
            <a:extLst>
              <a:ext uri="{FF2B5EF4-FFF2-40B4-BE49-F238E27FC236}">
                <a16:creationId xmlns:a16="http://schemas.microsoft.com/office/drawing/2014/main" id="{F17FD1DD-098D-E199-62F3-602AD79D6BE2}"/>
              </a:ext>
            </a:extLst>
          </p:cNvPr>
          <p:cNvSpPr txBox="1">
            <a:spLocks/>
          </p:cNvSpPr>
          <p:nvPr/>
        </p:nvSpPr>
        <p:spPr>
          <a:xfrm>
            <a:off x="469903" y="736701"/>
            <a:ext cx="11252200" cy="75725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1219170"/>
            <a:r>
              <a:rPr lang="el-GR" sz="1800">
                <a:latin typeface="Calibri" panose="020F0502020204030204" pitchFamily="34" charset="0"/>
                <a:cs typeface="Calibri" panose="020F0502020204030204" pitchFamily="34" charset="0"/>
              </a:rPr>
              <a:t>Διμερής συμβάσεις πώλησης με φυσική παράδοση (“physical PPA’s”)</a:t>
            </a:r>
            <a:endParaRPr lang="en-US" sz="1800">
              <a:latin typeface="Calibri" panose="020F0502020204030204" pitchFamily="34" charset="0"/>
              <a:cs typeface="Calibri" panose="020F0502020204030204" pitchFamily="34" charset="0"/>
            </a:endParaRPr>
          </a:p>
          <a:p>
            <a:pPr defTabSz="1219170"/>
            <a:endParaRPr lang="en-US" sz="1800" dirty="0">
              <a:latin typeface="Calibri" panose="020F0502020204030204" pitchFamily="34" charset="0"/>
              <a:cs typeface="Calibri" panose="020F0502020204030204" pitchFamily="34" charset="0"/>
            </a:endParaRPr>
          </a:p>
        </p:txBody>
      </p:sp>
      <p:sp>
        <p:nvSpPr>
          <p:cNvPr id="17" name="Title 4">
            <a:extLst>
              <a:ext uri="{FF2B5EF4-FFF2-40B4-BE49-F238E27FC236}">
                <a16:creationId xmlns:a16="http://schemas.microsoft.com/office/drawing/2014/main" id="{118803F5-D2FC-0856-C2CF-D206D7453B7B}"/>
              </a:ext>
            </a:extLst>
          </p:cNvPr>
          <p:cNvSpPr txBox="1">
            <a:spLocks/>
          </p:cNvSpPr>
          <p:nvPr/>
        </p:nvSpPr>
        <p:spPr>
          <a:xfrm>
            <a:off x="469903" y="402598"/>
            <a:ext cx="11252200"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l-GR" sz="2000" dirty="0">
                <a:latin typeface="Calibri" panose="020F0502020204030204" pitchFamily="34" charset="0"/>
                <a:cs typeface="Calibri" panose="020F0502020204030204" pitchFamily="34" charset="0"/>
              </a:rPr>
              <a:t>Διμερής συμφωνίες πώλησης ενέργειας (</a:t>
            </a:r>
            <a:r>
              <a:rPr lang="en-US" sz="2000" dirty="0">
                <a:latin typeface="Calibri" panose="020F0502020204030204" pitchFamily="34" charset="0"/>
                <a:cs typeface="Calibri" panose="020F0502020204030204" pitchFamily="34" charset="0"/>
              </a:rPr>
              <a:t>Corporate PPA’s)</a:t>
            </a:r>
          </a:p>
        </p:txBody>
      </p:sp>
      <p:pic>
        <p:nvPicPr>
          <p:cNvPr id="18" name="Picture 17" descr="A diagram of a wind turbine&#10;&#10;Description automatically generated">
            <a:extLst>
              <a:ext uri="{FF2B5EF4-FFF2-40B4-BE49-F238E27FC236}">
                <a16:creationId xmlns:a16="http://schemas.microsoft.com/office/drawing/2014/main" id="{28659A73-7FBA-CC42-DEF7-D5A15D56D4E3}"/>
              </a:ext>
            </a:extLst>
          </p:cNvPr>
          <p:cNvPicPr>
            <a:picLocks noChangeAspect="1"/>
          </p:cNvPicPr>
          <p:nvPr/>
        </p:nvPicPr>
        <p:blipFill rotWithShape="1">
          <a:blip r:embed="rId6">
            <a:extLst>
              <a:ext uri="{28A0092B-C50C-407E-A947-70E740481C1C}">
                <a14:useLocalDpi xmlns:a14="http://schemas.microsoft.com/office/drawing/2010/main" val="0"/>
              </a:ext>
            </a:extLst>
          </a:blip>
          <a:srcRect l="19959" t="19500" r="18367" b="15682"/>
          <a:stretch/>
        </p:blipFill>
        <p:spPr>
          <a:xfrm>
            <a:off x="330738" y="2830540"/>
            <a:ext cx="1649201" cy="1827728"/>
          </a:xfrm>
          <a:prstGeom prst="rect">
            <a:avLst/>
          </a:prstGeom>
        </p:spPr>
      </p:pic>
      <p:pic>
        <p:nvPicPr>
          <p:cNvPr id="19" name="Picture 18" descr="A green and grey building with smoke coming out of it&#10;&#10;Description automatically generated">
            <a:extLst>
              <a:ext uri="{FF2B5EF4-FFF2-40B4-BE49-F238E27FC236}">
                <a16:creationId xmlns:a16="http://schemas.microsoft.com/office/drawing/2014/main" id="{90E3829B-BC8F-2380-68A3-2020B6C428F4}"/>
              </a:ext>
            </a:extLst>
          </p:cNvPr>
          <p:cNvPicPr>
            <a:picLocks noChangeAspect="1"/>
          </p:cNvPicPr>
          <p:nvPr/>
        </p:nvPicPr>
        <p:blipFill rotWithShape="1">
          <a:blip r:embed="rId7">
            <a:extLst>
              <a:ext uri="{28A0092B-C50C-407E-A947-70E740481C1C}">
                <a14:useLocalDpi xmlns:a14="http://schemas.microsoft.com/office/drawing/2010/main" val="0"/>
              </a:ext>
            </a:extLst>
          </a:blip>
          <a:srcRect b="14699"/>
          <a:stretch/>
        </p:blipFill>
        <p:spPr>
          <a:xfrm>
            <a:off x="4281465" y="2812192"/>
            <a:ext cx="1733135" cy="1827728"/>
          </a:xfrm>
          <a:prstGeom prst="rect">
            <a:avLst/>
          </a:prstGeom>
        </p:spPr>
      </p:pic>
      <p:sp>
        <p:nvSpPr>
          <p:cNvPr id="20" name="Textbox 38">
            <a:extLst>
              <a:ext uri="{FF2B5EF4-FFF2-40B4-BE49-F238E27FC236}">
                <a16:creationId xmlns:a16="http://schemas.microsoft.com/office/drawing/2014/main" id="{E3FEAA5D-C879-0EA7-8C17-507BCCC6C1C5}"/>
              </a:ext>
            </a:extLst>
          </p:cNvPr>
          <p:cNvSpPr txBox="1"/>
          <p:nvPr/>
        </p:nvSpPr>
        <p:spPr>
          <a:xfrm>
            <a:off x="1911074" y="259086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22" name="Textbox 38">
            <a:extLst>
              <a:ext uri="{FF2B5EF4-FFF2-40B4-BE49-F238E27FC236}">
                <a16:creationId xmlns:a16="http://schemas.microsoft.com/office/drawing/2014/main" id="{7744CAB1-90EF-B32C-E0A6-DDF0808B3B7A}"/>
              </a:ext>
            </a:extLst>
          </p:cNvPr>
          <p:cNvSpPr txBox="1"/>
          <p:nvPr/>
        </p:nvSpPr>
        <p:spPr>
          <a:xfrm>
            <a:off x="1911073" y="2535645"/>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23" name="Textbox 38">
            <a:extLst>
              <a:ext uri="{FF2B5EF4-FFF2-40B4-BE49-F238E27FC236}">
                <a16:creationId xmlns:a16="http://schemas.microsoft.com/office/drawing/2014/main" id="{3A344C22-3908-17E3-80E7-1FC41CA51803}"/>
              </a:ext>
            </a:extLst>
          </p:cNvPr>
          <p:cNvSpPr txBox="1"/>
          <p:nvPr/>
        </p:nvSpPr>
        <p:spPr>
          <a:xfrm>
            <a:off x="487069" y="458775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Πωλητής</a:t>
            </a:r>
            <a:endPar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26" name="Textbox 38">
            <a:extLst>
              <a:ext uri="{FF2B5EF4-FFF2-40B4-BE49-F238E27FC236}">
                <a16:creationId xmlns:a16="http://schemas.microsoft.com/office/drawing/2014/main" id="{6B1AA51A-1487-5BF2-921D-335BCE1BD2F5}"/>
              </a:ext>
            </a:extLst>
          </p:cNvPr>
          <p:cNvSpPr txBox="1"/>
          <p:nvPr/>
        </p:nvSpPr>
        <p:spPr>
          <a:xfrm>
            <a:off x="3523388" y="4592679"/>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Αγοραστής</a:t>
            </a:r>
            <a:endPar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grpSp>
        <p:nvGrpSpPr>
          <p:cNvPr id="27" name="Graphic 4">
            <a:extLst>
              <a:ext uri="{FF2B5EF4-FFF2-40B4-BE49-F238E27FC236}">
                <a16:creationId xmlns:a16="http://schemas.microsoft.com/office/drawing/2014/main" id="{EE2DB97B-ECDD-0D88-168D-265B5D624D34}"/>
              </a:ext>
            </a:extLst>
          </p:cNvPr>
          <p:cNvGrpSpPr>
            <a:grpSpLocks noChangeAspect="1"/>
          </p:cNvGrpSpPr>
          <p:nvPr/>
        </p:nvGrpSpPr>
        <p:grpSpPr>
          <a:xfrm>
            <a:off x="2945183" y="3200567"/>
            <a:ext cx="484055" cy="552491"/>
            <a:chOff x="1017917" y="2938071"/>
            <a:chExt cx="136744" cy="195988"/>
          </a:xfrm>
          <a:solidFill>
            <a:srgbClr val="26890D"/>
          </a:solidFill>
        </p:grpSpPr>
        <p:sp>
          <p:nvSpPr>
            <p:cNvPr id="36" name="Graphic 4">
              <a:extLst>
                <a:ext uri="{FF2B5EF4-FFF2-40B4-BE49-F238E27FC236}">
                  <a16:creationId xmlns:a16="http://schemas.microsoft.com/office/drawing/2014/main" id="{A5CD4820-BB7E-EB45-A039-B888239EFEC9}"/>
                </a:ext>
              </a:extLst>
            </p:cNvPr>
            <p:cNvSpPr/>
            <p:nvPr/>
          </p:nvSpPr>
          <p:spPr>
            <a:xfrm>
              <a:off x="1017917" y="2938071"/>
              <a:ext cx="136744" cy="195988"/>
            </a:xfrm>
            <a:custGeom>
              <a:avLst/>
              <a:gdLst>
                <a:gd name="connsiteX0" fmla="*/ 23643 w 136744"/>
                <a:gd name="connsiteY0" fmla="*/ 84268 h 195988"/>
                <a:gd name="connsiteX1" fmla="*/ 113102 w 136744"/>
                <a:gd name="connsiteY1" fmla="*/ 84268 h 195988"/>
                <a:gd name="connsiteX2" fmla="*/ 119492 w 136744"/>
                <a:gd name="connsiteY2" fmla="*/ 90652 h 195988"/>
                <a:gd name="connsiteX3" fmla="*/ 113102 w 136744"/>
                <a:gd name="connsiteY3" fmla="*/ 97036 h 195988"/>
                <a:gd name="connsiteX4" fmla="*/ 23643 w 136744"/>
                <a:gd name="connsiteY4" fmla="*/ 97036 h 195988"/>
                <a:gd name="connsiteX5" fmla="*/ 17253 w 136744"/>
                <a:gd name="connsiteY5" fmla="*/ 90652 h 195988"/>
                <a:gd name="connsiteX6" fmla="*/ 23643 w 136744"/>
                <a:gd name="connsiteY6" fmla="*/ 84268 h 195988"/>
                <a:gd name="connsiteX7" fmla="*/ 23643 w 136744"/>
                <a:gd name="connsiteY7" fmla="*/ 54902 h 195988"/>
                <a:gd name="connsiteX8" fmla="*/ 113102 w 136744"/>
                <a:gd name="connsiteY8" fmla="*/ 54902 h 195988"/>
                <a:gd name="connsiteX9" fmla="*/ 119492 w 136744"/>
                <a:gd name="connsiteY9" fmla="*/ 61286 h 195988"/>
                <a:gd name="connsiteX10" fmla="*/ 113102 w 136744"/>
                <a:gd name="connsiteY10" fmla="*/ 67670 h 195988"/>
                <a:gd name="connsiteX11" fmla="*/ 23643 w 136744"/>
                <a:gd name="connsiteY11" fmla="*/ 67670 h 195988"/>
                <a:gd name="connsiteX12" fmla="*/ 17253 w 136744"/>
                <a:gd name="connsiteY12" fmla="*/ 61286 h 195988"/>
                <a:gd name="connsiteX13" fmla="*/ 23643 w 136744"/>
                <a:gd name="connsiteY13" fmla="*/ 54902 h 195988"/>
                <a:gd name="connsiteX14" fmla="*/ 23643 w 136744"/>
                <a:gd name="connsiteY14" fmla="*/ 24897 h 195988"/>
                <a:gd name="connsiteX15" fmla="*/ 113102 w 136744"/>
                <a:gd name="connsiteY15" fmla="*/ 24897 h 195988"/>
                <a:gd name="connsiteX16" fmla="*/ 119492 w 136744"/>
                <a:gd name="connsiteY16" fmla="*/ 31281 h 195988"/>
                <a:gd name="connsiteX17" fmla="*/ 113102 w 136744"/>
                <a:gd name="connsiteY17" fmla="*/ 37665 h 195988"/>
                <a:gd name="connsiteX18" fmla="*/ 23643 w 136744"/>
                <a:gd name="connsiteY18" fmla="*/ 37665 h 195988"/>
                <a:gd name="connsiteX19" fmla="*/ 17253 w 136744"/>
                <a:gd name="connsiteY19" fmla="*/ 31281 h 195988"/>
                <a:gd name="connsiteX20" fmla="*/ 23643 w 136744"/>
                <a:gd name="connsiteY20" fmla="*/ 24897 h 195988"/>
                <a:gd name="connsiteX21" fmla="*/ 96488 w 136744"/>
                <a:gd name="connsiteY21" fmla="*/ 151300 h 195988"/>
                <a:gd name="connsiteX22" fmla="*/ 97127 w 136744"/>
                <a:gd name="connsiteY22" fmla="*/ 159600 h 195988"/>
                <a:gd name="connsiteX23" fmla="*/ 91376 w 136744"/>
                <a:gd name="connsiteY23" fmla="*/ 165984 h 195988"/>
                <a:gd name="connsiteX24" fmla="*/ 90737 w 136744"/>
                <a:gd name="connsiteY24" fmla="*/ 166622 h 195988"/>
                <a:gd name="connsiteX25" fmla="*/ 90737 w 136744"/>
                <a:gd name="connsiteY25" fmla="*/ 167260 h 195988"/>
                <a:gd name="connsiteX26" fmla="*/ 86264 w 136744"/>
                <a:gd name="connsiteY26" fmla="*/ 174283 h 195988"/>
                <a:gd name="connsiteX27" fmla="*/ 77957 w 136744"/>
                <a:gd name="connsiteY27" fmla="*/ 176198 h 195988"/>
                <a:gd name="connsiteX28" fmla="*/ 77318 w 136744"/>
                <a:gd name="connsiteY28" fmla="*/ 176198 h 195988"/>
                <a:gd name="connsiteX29" fmla="*/ 76679 w 136744"/>
                <a:gd name="connsiteY29" fmla="*/ 176836 h 195988"/>
                <a:gd name="connsiteX30" fmla="*/ 61343 w 136744"/>
                <a:gd name="connsiteY30" fmla="*/ 177475 h 195988"/>
                <a:gd name="connsiteX31" fmla="*/ 60704 w 136744"/>
                <a:gd name="connsiteY31" fmla="*/ 176836 h 195988"/>
                <a:gd name="connsiteX32" fmla="*/ 60065 w 136744"/>
                <a:gd name="connsiteY32" fmla="*/ 176198 h 195988"/>
                <a:gd name="connsiteX33" fmla="*/ 59426 w 136744"/>
                <a:gd name="connsiteY33" fmla="*/ 176198 h 195988"/>
                <a:gd name="connsiteX34" fmla="*/ 46647 w 136744"/>
                <a:gd name="connsiteY34" fmla="*/ 167899 h 195988"/>
                <a:gd name="connsiteX35" fmla="*/ 46647 w 136744"/>
                <a:gd name="connsiteY35" fmla="*/ 166622 h 195988"/>
                <a:gd name="connsiteX36" fmla="*/ 46647 w 136744"/>
                <a:gd name="connsiteY36" fmla="*/ 165984 h 195988"/>
                <a:gd name="connsiteX37" fmla="*/ 46008 w 136744"/>
                <a:gd name="connsiteY37" fmla="*/ 165345 h 195988"/>
                <a:gd name="connsiteX38" fmla="*/ 40257 w 136744"/>
                <a:gd name="connsiteY38" fmla="*/ 158961 h 195988"/>
                <a:gd name="connsiteX39" fmla="*/ 40896 w 136744"/>
                <a:gd name="connsiteY39" fmla="*/ 150662 h 195988"/>
                <a:gd name="connsiteX40" fmla="*/ 41535 w 136744"/>
                <a:gd name="connsiteY40" fmla="*/ 149385 h 195988"/>
                <a:gd name="connsiteX41" fmla="*/ 40896 w 136744"/>
                <a:gd name="connsiteY41" fmla="*/ 148747 h 195988"/>
                <a:gd name="connsiteX42" fmla="*/ 40257 w 136744"/>
                <a:gd name="connsiteY42" fmla="*/ 140448 h 195988"/>
                <a:gd name="connsiteX43" fmla="*/ 46008 w 136744"/>
                <a:gd name="connsiteY43" fmla="*/ 134064 h 195988"/>
                <a:gd name="connsiteX44" fmla="*/ 46647 w 136744"/>
                <a:gd name="connsiteY44" fmla="*/ 133425 h 195988"/>
                <a:gd name="connsiteX45" fmla="*/ 46647 w 136744"/>
                <a:gd name="connsiteY45" fmla="*/ 132787 h 195988"/>
                <a:gd name="connsiteX46" fmla="*/ 51119 w 136744"/>
                <a:gd name="connsiteY46" fmla="*/ 125764 h 195988"/>
                <a:gd name="connsiteX47" fmla="*/ 59426 w 136744"/>
                <a:gd name="connsiteY47" fmla="*/ 123849 h 195988"/>
                <a:gd name="connsiteX48" fmla="*/ 60065 w 136744"/>
                <a:gd name="connsiteY48" fmla="*/ 123849 h 195988"/>
                <a:gd name="connsiteX49" fmla="*/ 60704 w 136744"/>
                <a:gd name="connsiteY49" fmla="*/ 123211 h 195988"/>
                <a:gd name="connsiteX50" fmla="*/ 76040 w 136744"/>
                <a:gd name="connsiteY50" fmla="*/ 122572 h 195988"/>
                <a:gd name="connsiteX51" fmla="*/ 76679 w 136744"/>
                <a:gd name="connsiteY51" fmla="*/ 123211 h 195988"/>
                <a:gd name="connsiteX52" fmla="*/ 77318 w 136744"/>
                <a:gd name="connsiteY52" fmla="*/ 123849 h 195988"/>
                <a:gd name="connsiteX53" fmla="*/ 77957 w 136744"/>
                <a:gd name="connsiteY53" fmla="*/ 123849 h 195988"/>
                <a:gd name="connsiteX54" fmla="*/ 86264 w 136744"/>
                <a:gd name="connsiteY54" fmla="*/ 125764 h 195988"/>
                <a:gd name="connsiteX55" fmla="*/ 90737 w 136744"/>
                <a:gd name="connsiteY55" fmla="*/ 132787 h 195988"/>
                <a:gd name="connsiteX56" fmla="*/ 90737 w 136744"/>
                <a:gd name="connsiteY56" fmla="*/ 133425 h 195988"/>
                <a:gd name="connsiteX57" fmla="*/ 91376 w 136744"/>
                <a:gd name="connsiteY57" fmla="*/ 134064 h 195988"/>
                <a:gd name="connsiteX58" fmla="*/ 97127 w 136744"/>
                <a:gd name="connsiteY58" fmla="*/ 140448 h 195988"/>
                <a:gd name="connsiteX59" fmla="*/ 96488 w 136744"/>
                <a:gd name="connsiteY59" fmla="*/ 148747 h 195988"/>
                <a:gd name="connsiteX60" fmla="*/ 95849 w 136744"/>
                <a:gd name="connsiteY60" fmla="*/ 149385 h 195988"/>
                <a:gd name="connsiteX61" fmla="*/ 96488 w 136744"/>
                <a:gd name="connsiteY61" fmla="*/ 151300 h 195988"/>
                <a:gd name="connsiteX62" fmla="*/ 0 w 136744"/>
                <a:gd name="connsiteY62" fmla="*/ 195988 h 195988"/>
                <a:gd name="connsiteX63" fmla="*/ 136745 w 136744"/>
                <a:gd name="connsiteY63" fmla="*/ 195988 h 195988"/>
                <a:gd name="connsiteX64" fmla="*/ 136745 w 136744"/>
                <a:gd name="connsiteY64" fmla="*/ 0 h 195988"/>
                <a:gd name="connsiteX65" fmla="*/ 639 w 136744"/>
                <a:gd name="connsiteY65" fmla="*/ 0 h 195988"/>
                <a:gd name="connsiteX66" fmla="*/ 0 w 136744"/>
                <a:gd name="connsiteY66" fmla="*/ 195988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36744" h="195988">
                  <a:moveTo>
                    <a:pt x="23643" y="84268"/>
                  </a:moveTo>
                  <a:lnTo>
                    <a:pt x="113102" y="84268"/>
                  </a:lnTo>
                  <a:cubicBezTo>
                    <a:pt x="116936" y="84268"/>
                    <a:pt x="119492" y="86822"/>
                    <a:pt x="119492" y="90652"/>
                  </a:cubicBezTo>
                  <a:cubicBezTo>
                    <a:pt x="119492" y="94483"/>
                    <a:pt x="116936" y="97036"/>
                    <a:pt x="113102" y="97036"/>
                  </a:cubicBezTo>
                  <a:lnTo>
                    <a:pt x="23643" y="97036"/>
                  </a:lnTo>
                  <a:cubicBezTo>
                    <a:pt x="19809" y="97036"/>
                    <a:pt x="17253" y="94483"/>
                    <a:pt x="17253" y="90652"/>
                  </a:cubicBezTo>
                  <a:cubicBezTo>
                    <a:pt x="17253" y="86822"/>
                    <a:pt x="19809" y="84268"/>
                    <a:pt x="23643" y="84268"/>
                  </a:cubicBezTo>
                  <a:moveTo>
                    <a:pt x="23643" y="54902"/>
                  </a:moveTo>
                  <a:lnTo>
                    <a:pt x="113102" y="54902"/>
                  </a:lnTo>
                  <a:cubicBezTo>
                    <a:pt x="116936" y="54902"/>
                    <a:pt x="119492" y="57456"/>
                    <a:pt x="119492" y="61286"/>
                  </a:cubicBezTo>
                  <a:cubicBezTo>
                    <a:pt x="119492" y="65117"/>
                    <a:pt x="116936" y="67670"/>
                    <a:pt x="113102" y="67670"/>
                  </a:cubicBezTo>
                  <a:lnTo>
                    <a:pt x="23643" y="67670"/>
                  </a:lnTo>
                  <a:cubicBezTo>
                    <a:pt x="19809" y="67670"/>
                    <a:pt x="17253" y="65117"/>
                    <a:pt x="17253" y="61286"/>
                  </a:cubicBezTo>
                  <a:cubicBezTo>
                    <a:pt x="17253" y="57456"/>
                    <a:pt x="19809" y="54902"/>
                    <a:pt x="23643" y="54902"/>
                  </a:cubicBezTo>
                  <a:moveTo>
                    <a:pt x="23643" y="24897"/>
                  </a:moveTo>
                  <a:lnTo>
                    <a:pt x="113102" y="24897"/>
                  </a:lnTo>
                  <a:cubicBezTo>
                    <a:pt x="116936" y="24897"/>
                    <a:pt x="119492" y="27451"/>
                    <a:pt x="119492" y="31281"/>
                  </a:cubicBezTo>
                  <a:cubicBezTo>
                    <a:pt x="119492" y="35112"/>
                    <a:pt x="116936" y="37665"/>
                    <a:pt x="113102" y="37665"/>
                  </a:cubicBezTo>
                  <a:lnTo>
                    <a:pt x="23643" y="37665"/>
                  </a:lnTo>
                  <a:cubicBezTo>
                    <a:pt x="19809" y="37665"/>
                    <a:pt x="17253" y="35112"/>
                    <a:pt x="17253" y="31281"/>
                  </a:cubicBezTo>
                  <a:cubicBezTo>
                    <a:pt x="17253" y="27451"/>
                    <a:pt x="19809" y="24897"/>
                    <a:pt x="23643" y="24897"/>
                  </a:cubicBezTo>
                  <a:moveTo>
                    <a:pt x="96488" y="151300"/>
                  </a:moveTo>
                  <a:cubicBezTo>
                    <a:pt x="97766" y="153854"/>
                    <a:pt x="97766" y="157046"/>
                    <a:pt x="97127" y="159600"/>
                  </a:cubicBezTo>
                  <a:cubicBezTo>
                    <a:pt x="95849" y="162153"/>
                    <a:pt x="93932" y="164707"/>
                    <a:pt x="91376" y="165984"/>
                  </a:cubicBezTo>
                  <a:lnTo>
                    <a:pt x="90737" y="166622"/>
                  </a:lnTo>
                  <a:cubicBezTo>
                    <a:pt x="90737" y="166622"/>
                    <a:pt x="90737" y="167260"/>
                    <a:pt x="90737" y="167260"/>
                  </a:cubicBezTo>
                  <a:cubicBezTo>
                    <a:pt x="90098" y="169814"/>
                    <a:pt x="88820" y="173006"/>
                    <a:pt x="86264" y="174283"/>
                  </a:cubicBezTo>
                  <a:cubicBezTo>
                    <a:pt x="83708" y="175560"/>
                    <a:pt x="81152" y="176198"/>
                    <a:pt x="77957" y="176198"/>
                  </a:cubicBezTo>
                  <a:cubicBezTo>
                    <a:pt x="77957" y="176198"/>
                    <a:pt x="77318" y="176198"/>
                    <a:pt x="77318" y="176198"/>
                  </a:cubicBezTo>
                  <a:lnTo>
                    <a:pt x="76679" y="176836"/>
                  </a:lnTo>
                  <a:cubicBezTo>
                    <a:pt x="72845" y="181305"/>
                    <a:pt x="65816" y="181305"/>
                    <a:pt x="61343" y="177475"/>
                  </a:cubicBezTo>
                  <a:cubicBezTo>
                    <a:pt x="61343" y="177475"/>
                    <a:pt x="61343" y="177475"/>
                    <a:pt x="60704" y="176836"/>
                  </a:cubicBezTo>
                  <a:lnTo>
                    <a:pt x="60065" y="176198"/>
                  </a:lnTo>
                  <a:lnTo>
                    <a:pt x="59426" y="176198"/>
                  </a:lnTo>
                  <a:cubicBezTo>
                    <a:pt x="53675" y="177475"/>
                    <a:pt x="47925" y="173644"/>
                    <a:pt x="46647" y="167899"/>
                  </a:cubicBezTo>
                  <a:cubicBezTo>
                    <a:pt x="46647" y="167260"/>
                    <a:pt x="46647" y="167260"/>
                    <a:pt x="46647" y="166622"/>
                  </a:cubicBezTo>
                  <a:cubicBezTo>
                    <a:pt x="46647" y="166622"/>
                    <a:pt x="46647" y="165984"/>
                    <a:pt x="46647" y="165984"/>
                  </a:cubicBezTo>
                  <a:lnTo>
                    <a:pt x="46008" y="165345"/>
                  </a:lnTo>
                  <a:cubicBezTo>
                    <a:pt x="43452" y="164068"/>
                    <a:pt x="41535" y="161515"/>
                    <a:pt x="40257" y="158961"/>
                  </a:cubicBezTo>
                  <a:cubicBezTo>
                    <a:pt x="39618" y="156408"/>
                    <a:pt x="39618" y="153216"/>
                    <a:pt x="40896" y="150662"/>
                  </a:cubicBezTo>
                  <a:cubicBezTo>
                    <a:pt x="40896" y="150024"/>
                    <a:pt x="41535" y="150024"/>
                    <a:pt x="41535" y="149385"/>
                  </a:cubicBezTo>
                  <a:cubicBezTo>
                    <a:pt x="41535" y="149385"/>
                    <a:pt x="41535" y="149385"/>
                    <a:pt x="40896" y="148747"/>
                  </a:cubicBezTo>
                  <a:cubicBezTo>
                    <a:pt x="39618" y="146193"/>
                    <a:pt x="39618" y="143001"/>
                    <a:pt x="40257" y="140448"/>
                  </a:cubicBezTo>
                  <a:cubicBezTo>
                    <a:pt x="41535" y="137894"/>
                    <a:pt x="43452" y="135340"/>
                    <a:pt x="46008" y="134064"/>
                  </a:cubicBezTo>
                  <a:lnTo>
                    <a:pt x="46647" y="133425"/>
                  </a:lnTo>
                  <a:cubicBezTo>
                    <a:pt x="46647" y="133425"/>
                    <a:pt x="46647" y="132787"/>
                    <a:pt x="46647" y="132787"/>
                  </a:cubicBezTo>
                  <a:cubicBezTo>
                    <a:pt x="47285" y="130233"/>
                    <a:pt x="48563" y="127041"/>
                    <a:pt x="51119" y="125764"/>
                  </a:cubicBezTo>
                  <a:cubicBezTo>
                    <a:pt x="53675" y="124488"/>
                    <a:pt x="56231" y="123849"/>
                    <a:pt x="59426" y="123849"/>
                  </a:cubicBezTo>
                  <a:lnTo>
                    <a:pt x="60065" y="123849"/>
                  </a:lnTo>
                  <a:lnTo>
                    <a:pt x="60704" y="123211"/>
                  </a:lnTo>
                  <a:cubicBezTo>
                    <a:pt x="64538" y="118742"/>
                    <a:pt x="71567" y="118742"/>
                    <a:pt x="76040" y="122572"/>
                  </a:cubicBezTo>
                  <a:cubicBezTo>
                    <a:pt x="76040" y="122572"/>
                    <a:pt x="76040" y="122572"/>
                    <a:pt x="76679" y="123211"/>
                  </a:cubicBezTo>
                  <a:lnTo>
                    <a:pt x="77318" y="123849"/>
                  </a:lnTo>
                  <a:lnTo>
                    <a:pt x="77957" y="123849"/>
                  </a:lnTo>
                  <a:cubicBezTo>
                    <a:pt x="80513" y="123211"/>
                    <a:pt x="83708" y="123849"/>
                    <a:pt x="86264" y="125764"/>
                  </a:cubicBezTo>
                  <a:cubicBezTo>
                    <a:pt x="88820" y="127680"/>
                    <a:pt x="90098" y="130233"/>
                    <a:pt x="90737" y="132787"/>
                  </a:cubicBezTo>
                  <a:cubicBezTo>
                    <a:pt x="90737" y="132787"/>
                    <a:pt x="90737" y="133425"/>
                    <a:pt x="90737" y="133425"/>
                  </a:cubicBezTo>
                  <a:lnTo>
                    <a:pt x="91376" y="134064"/>
                  </a:lnTo>
                  <a:cubicBezTo>
                    <a:pt x="93932" y="135340"/>
                    <a:pt x="95849" y="137894"/>
                    <a:pt x="97127" y="140448"/>
                  </a:cubicBezTo>
                  <a:cubicBezTo>
                    <a:pt x="97766" y="143001"/>
                    <a:pt x="97766" y="146193"/>
                    <a:pt x="96488" y="148747"/>
                  </a:cubicBezTo>
                  <a:lnTo>
                    <a:pt x="95849" y="149385"/>
                  </a:lnTo>
                  <a:lnTo>
                    <a:pt x="96488" y="151300"/>
                  </a:lnTo>
                  <a:moveTo>
                    <a:pt x="0" y="195988"/>
                  </a:moveTo>
                  <a:lnTo>
                    <a:pt x="136745" y="195988"/>
                  </a:lnTo>
                  <a:lnTo>
                    <a:pt x="136745" y="0"/>
                  </a:lnTo>
                  <a:lnTo>
                    <a:pt x="639" y="0"/>
                  </a:lnTo>
                  <a:lnTo>
                    <a:pt x="0" y="195988"/>
                  </a:lnTo>
                  <a:close/>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9" name="Graphic 4">
              <a:extLst>
                <a:ext uri="{FF2B5EF4-FFF2-40B4-BE49-F238E27FC236}">
                  <a16:creationId xmlns:a16="http://schemas.microsoft.com/office/drawing/2014/main" id="{D0EB9AB9-457D-0AAF-EBBA-D45AE2314596}"/>
                </a:ext>
              </a:extLst>
            </p:cNvPr>
            <p:cNvSpPr/>
            <p:nvPr/>
          </p:nvSpPr>
          <p:spPr>
            <a:xfrm>
              <a:off x="1071592" y="3071496"/>
              <a:ext cx="30671" cy="33196"/>
            </a:xfrm>
            <a:custGeom>
              <a:avLst/>
              <a:gdLst>
                <a:gd name="connsiteX0" fmla="*/ 26838 w 30671"/>
                <a:gd name="connsiteY0" fmla="*/ 8299 h 33196"/>
                <a:gd name="connsiteX1" fmla="*/ 24921 w 30671"/>
                <a:gd name="connsiteY1" fmla="*/ 3192 h 33196"/>
                <a:gd name="connsiteX2" fmla="*/ 19809 w 30671"/>
                <a:gd name="connsiteY2" fmla="*/ 2554 h 33196"/>
                <a:gd name="connsiteX3" fmla="*/ 15336 w 30671"/>
                <a:gd name="connsiteY3" fmla="*/ 0 h 33196"/>
                <a:gd name="connsiteX4" fmla="*/ 10863 w 30671"/>
                <a:gd name="connsiteY4" fmla="*/ 2554 h 33196"/>
                <a:gd name="connsiteX5" fmla="*/ 5751 w 30671"/>
                <a:gd name="connsiteY5" fmla="*/ 3192 h 33196"/>
                <a:gd name="connsiteX6" fmla="*/ 3834 w 30671"/>
                <a:gd name="connsiteY6" fmla="*/ 8299 h 33196"/>
                <a:gd name="connsiteX7" fmla="*/ 0 w 30671"/>
                <a:gd name="connsiteY7" fmla="*/ 11491 h 33196"/>
                <a:gd name="connsiteX8" fmla="*/ 0 w 30671"/>
                <a:gd name="connsiteY8" fmla="*/ 21706 h 33196"/>
                <a:gd name="connsiteX9" fmla="*/ 3834 w 30671"/>
                <a:gd name="connsiteY9" fmla="*/ 24897 h 33196"/>
                <a:gd name="connsiteX10" fmla="*/ 5751 w 30671"/>
                <a:gd name="connsiteY10" fmla="*/ 30005 h 33196"/>
                <a:gd name="connsiteX11" fmla="*/ 7029 w 30671"/>
                <a:gd name="connsiteY11" fmla="*/ 30005 h 33196"/>
                <a:gd name="connsiteX12" fmla="*/ 10863 w 30671"/>
                <a:gd name="connsiteY12" fmla="*/ 30643 h 33196"/>
                <a:gd name="connsiteX13" fmla="*/ 15336 w 30671"/>
                <a:gd name="connsiteY13" fmla="*/ 33197 h 33196"/>
                <a:gd name="connsiteX14" fmla="*/ 19809 w 30671"/>
                <a:gd name="connsiteY14" fmla="*/ 30643 h 33196"/>
                <a:gd name="connsiteX15" fmla="*/ 24921 w 30671"/>
                <a:gd name="connsiteY15" fmla="*/ 30005 h 33196"/>
                <a:gd name="connsiteX16" fmla="*/ 26838 w 30671"/>
                <a:gd name="connsiteY16" fmla="*/ 24897 h 33196"/>
                <a:gd name="connsiteX17" fmla="*/ 30672 w 30671"/>
                <a:gd name="connsiteY17" fmla="*/ 21706 h 33196"/>
                <a:gd name="connsiteX18" fmla="*/ 30672 w 30671"/>
                <a:gd name="connsiteY18" fmla="*/ 11491 h 33196"/>
                <a:gd name="connsiteX19" fmla="*/ 26838 w 30671"/>
                <a:gd name="connsiteY19" fmla="*/ 8299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671" h="33196">
                  <a:moveTo>
                    <a:pt x="26838" y="8299"/>
                  </a:moveTo>
                  <a:cubicBezTo>
                    <a:pt x="25560" y="7022"/>
                    <a:pt x="24921" y="5107"/>
                    <a:pt x="24921" y="3192"/>
                  </a:cubicBezTo>
                  <a:cubicBezTo>
                    <a:pt x="23004" y="3192"/>
                    <a:pt x="21087" y="3192"/>
                    <a:pt x="19809" y="2554"/>
                  </a:cubicBezTo>
                  <a:cubicBezTo>
                    <a:pt x="17892" y="1915"/>
                    <a:pt x="16614" y="1277"/>
                    <a:pt x="15336" y="0"/>
                  </a:cubicBezTo>
                  <a:cubicBezTo>
                    <a:pt x="14058" y="1277"/>
                    <a:pt x="12780" y="1915"/>
                    <a:pt x="10863" y="2554"/>
                  </a:cubicBezTo>
                  <a:cubicBezTo>
                    <a:pt x="8946" y="3192"/>
                    <a:pt x="7668" y="3192"/>
                    <a:pt x="5751" y="3192"/>
                  </a:cubicBezTo>
                  <a:cubicBezTo>
                    <a:pt x="5112" y="5107"/>
                    <a:pt x="4473" y="6384"/>
                    <a:pt x="3834" y="8299"/>
                  </a:cubicBezTo>
                  <a:cubicBezTo>
                    <a:pt x="2556" y="9576"/>
                    <a:pt x="1278" y="10853"/>
                    <a:pt x="0" y="11491"/>
                  </a:cubicBezTo>
                  <a:cubicBezTo>
                    <a:pt x="1278" y="14683"/>
                    <a:pt x="1278" y="18514"/>
                    <a:pt x="0" y="21706"/>
                  </a:cubicBezTo>
                  <a:cubicBezTo>
                    <a:pt x="1278" y="22344"/>
                    <a:pt x="2556" y="23621"/>
                    <a:pt x="3834" y="24897"/>
                  </a:cubicBezTo>
                  <a:cubicBezTo>
                    <a:pt x="5112" y="26174"/>
                    <a:pt x="5751" y="28089"/>
                    <a:pt x="5751" y="30005"/>
                  </a:cubicBezTo>
                  <a:lnTo>
                    <a:pt x="7029" y="30005"/>
                  </a:lnTo>
                  <a:cubicBezTo>
                    <a:pt x="8307" y="30005"/>
                    <a:pt x="9585" y="30005"/>
                    <a:pt x="10863" y="30643"/>
                  </a:cubicBezTo>
                  <a:cubicBezTo>
                    <a:pt x="12780" y="31281"/>
                    <a:pt x="14058" y="31920"/>
                    <a:pt x="15336" y="33197"/>
                  </a:cubicBezTo>
                  <a:cubicBezTo>
                    <a:pt x="16614" y="31920"/>
                    <a:pt x="17892" y="31281"/>
                    <a:pt x="19809" y="30643"/>
                  </a:cubicBezTo>
                  <a:cubicBezTo>
                    <a:pt x="21726" y="30005"/>
                    <a:pt x="23004" y="30005"/>
                    <a:pt x="24921" y="30005"/>
                  </a:cubicBezTo>
                  <a:cubicBezTo>
                    <a:pt x="25560" y="28089"/>
                    <a:pt x="26199" y="26813"/>
                    <a:pt x="26838" y="24897"/>
                  </a:cubicBezTo>
                  <a:cubicBezTo>
                    <a:pt x="28116" y="23621"/>
                    <a:pt x="29394" y="22344"/>
                    <a:pt x="30672" y="21706"/>
                  </a:cubicBezTo>
                  <a:cubicBezTo>
                    <a:pt x="29394" y="18514"/>
                    <a:pt x="29394" y="14683"/>
                    <a:pt x="30672" y="11491"/>
                  </a:cubicBezTo>
                  <a:cubicBezTo>
                    <a:pt x="29394" y="11491"/>
                    <a:pt x="28116" y="10214"/>
                    <a:pt x="26838" y="8299"/>
                  </a:cubicBezTo>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0" name="Textbox 38">
            <a:extLst>
              <a:ext uri="{FF2B5EF4-FFF2-40B4-BE49-F238E27FC236}">
                <a16:creationId xmlns:a16="http://schemas.microsoft.com/office/drawing/2014/main" id="{DD72D0AD-8535-BB6A-ED6C-442DC0A11AAA}"/>
              </a:ext>
            </a:extLst>
          </p:cNvPr>
          <p:cNvSpPr txBox="1"/>
          <p:nvPr/>
        </p:nvSpPr>
        <p:spPr>
          <a:xfrm>
            <a:off x="2471874" y="3830175"/>
            <a:ext cx="1722335" cy="139007"/>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PPA</a:t>
            </a: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 («Διμερή συμφωνία πώλησης ενέργειας»)</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41" name="Straight Arrow Connector 40">
            <a:extLst>
              <a:ext uri="{FF2B5EF4-FFF2-40B4-BE49-F238E27FC236}">
                <a16:creationId xmlns:a16="http://schemas.microsoft.com/office/drawing/2014/main" id="{4AB43CCE-1C48-002C-2252-77FE3FD85439}"/>
              </a:ext>
            </a:extLst>
          </p:cNvPr>
          <p:cNvCxnSpPr>
            <a:cxnSpLocks/>
          </p:cNvCxnSpPr>
          <p:nvPr/>
        </p:nvCxnSpPr>
        <p:spPr>
          <a:xfrm>
            <a:off x="1685229" y="3538660"/>
            <a:ext cx="1131516" cy="0"/>
          </a:xfrm>
          <a:prstGeom prst="straightConnector1">
            <a:avLst/>
          </a:prstGeom>
          <a:ln>
            <a:prstDash val="dash"/>
            <a:tailEnd type="triangle"/>
          </a:ln>
        </p:spPr>
        <p:style>
          <a:lnRef idx="2">
            <a:schemeClr val="accent4"/>
          </a:lnRef>
          <a:fillRef idx="0">
            <a:schemeClr val="accent4"/>
          </a:fillRef>
          <a:effectRef idx="1">
            <a:schemeClr val="accent4"/>
          </a:effectRef>
          <a:fontRef idx="minor">
            <a:schemeClr val="tx1"/>
          </a:fontRef>
        </p:style>
      </p:cxnSp>
      <p:cxnSp>
        <p:nvCxnSpPr>
          <p:cNvPr id="42" name="Straight Arrow Connector 41">
            <a:extLst>
              <a:ext uri="{FF2B5EF4-FFF2-40B4-BE49-F238E27FC236}">
                <a16:creationId xmlns:a16="http://schemas.microsoft.com/office/drawing/2014/main" id="{87429F5D-3A13-920B-EA81-F7A6B3BECD48}"/>
              </a:ext>
            </a:extLst>
          </p:cNvPr>
          <p:cNvCxnSpPr>
            <a:cxnSpLocks/>
          </p:cNvCxnSpPr>
          <p:nvPr/>
        </p:nvCxnSpPr>
        <p:spPr>
          <a:xfrm flipH="1">
            <a:off x="3478316" y="3527572"/>
            <a:ext cx="1021615" cy="0"/>
          </a:xfrm>
          <a:prstGeom prst="straightConnector1">
            <a:avLst/>
          </a:prstGeom>
          <a:ln>
            <a:prstDash val="dash"/>
            <a:tailEnd type="triangle"/>
          </a:ln>
        </p:spPr>
        <p:style>
          <a:lnRef idx="2">
            <a:schemeClr val="accent4"/>
          </a:lnRef>
          <a:fillRef idx="0">
            <a:schemeClr val="accent4"/>
          </a:fillRef>
          <a:effectRef idx="1">
            <a:schemeClr val="accent4"/>
          </a:effectRef>
          <a:fontRef idx="minor">
            <a:schemeClr val="tx1"/>
          </a:fontRef>
        </p:style>
      </p:cxnSp>
      <p:pic>
        <p:nvPicPr>
          <p:cNvPr id="43" name="Picture 42" descr="A screenshot of a computer&#10;&#10;Description automatically generated">
            <a:extLst>
              <a:ext uri="{FF2B5EF4-FFF2-40B4-BE49-F238E27FC236}">
                <a16:creationId xmlns:a16="http://schemas.microsoft.com/office/drawing/2014/main" id="{E0F4CE3E-C376-6C5A-99F7-0F25D6BB4F6B}"/>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61804" b="72457" l="28888" r="35067">
                        <a14:foregroundMark x1="32080" y1="62956" x2="32080" y2="62956"/>
                        <a14:foregroundMark x1="30330" y1="72169" x2="30330" y2="72169"/>
                        <a14:foregroundMark x1="30072" y1="72361" x2="34089" y2="72457"/>
                        <a14:foregroundMark x1="32080" y1="63820" x2="32080" y2="63820"/>
                        <a14:foregroundMark x1="31874" y1="63052" x2="31874" y2="63052"/>
                        <a14:foregroundMark x1="32132" y1="61804" x2="32132" y2="61804"/>
                        <a14:foregroundMark x1="32132" y1="63244" x2="32132" y2="63244"/>
                      </a14:backgroundRemoval>
                    </a14:imgEffect>
                  </a14:imgLayer>
                </a14:imgProps>
              </a:ext>
              <a:ext uri="{28A0092B-C50C-407E-A947-70E740481C1C}">
                <a14:useLocalDpi xmlns:a14="http://schemas.microsoft.com/office/drawing/2010/main" val="0"/>
              </a:ext>
            </a:extLst>
          </a:blip>
          <a:srcRect l="28141" t="61519" r="64083" b="26340"/>
          <a:stretch/>
        </p:blipFill>
        <p:spPr>
          <a:xfrm>
            <a:off x="1738283" y="4881124"/>
            <a:ext cx="851824" cy="1047953"/>
          </a:xfrm>
          <a:prstGeom prst="rect">
            <a:avLst/>
          </a:prstGeom>
        </p:spPr>
      </p:pic>
      <p:pic>
        <p:nvPicPr>
          <p:cNvPr id="44" name="Picture 43" descr="A screenshot of a computer&#10;&#10;Description automatically generated">
            <a:extLst>
              <a:ext uri="{FF2B5EF4-FFF2-40B4-BE49-F238E27FC236}">
                <a16:creationId xmlns:a16="http://schemas.microsoft.com/office/drawing/2014/main" id="{A4965B0B-0C3B-5F8E-B839-6621C24253DA}"/>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61804" b="72457" l="28888" r="35067">
                        <a14:foregroundMark x1="32080" y1="62956" x2="32080" y2="62956"/>
                        <a14:foregroundMark x1="30330" y1="72169" x2="30330" y2="72169"/>
                        <a14:foregroundMark x1="30072" y1="72361" x2="34089" y2="72457"/>
                        <a14:foregroundMark x1="32080" y1="63820" x2="32080" y2="63820"/>
                        <a14:foregroundMark x1="31874" y1="63052" x2="31874" y2="63052"/>
                        <a14:foregroundMark x1="32132" y1="61804" x2="32132" y2="61804"/>
                        <a14:foregroundMark x1="32132" y1="63244" x2="32132" y2="63244"/>
                      </a14:backgroundRemoval>
                    </a14:imgEffect>
                  </a14:imgLayer>
                </a14:imgProps>
              </a:ext>
              <a:ext uri="{28A0092B-C50C-407E-A947-70E740481C1C}">
                <a14:useLocalDpi xmlns:a14="http://schemas.microsoft.com/office/drawing/2010/main" val="0"/>
              </a:ext>
            </a:extLst>
          </a:blip>
          <a:srcRect l="28141" t="61519" r="64083" b="26340"/>
          <a:stretch/>
        </p:blipFill>
        <p:spPr>
          <a:xfrm>
            <a:off x="3854168" y="4888618"/>
            <a:ext cx="851824" cy="1047953"/>
          </a:xfrm>
          <a:prstGeom prst="rect">
            <a:avLst/>
          </a:prstGeom>
        </p:spPr>
      </p:pic>
      <p:cxnSp>
        <p:nvCxnSpPr>
          <p:cNvPr id="45" name="Connector: Elbow 44">
            <a:extLst>
              <a:ext uri="{FF2B5EF4-FFF2-40B4-BE49-F238E27FC236}">
                <a16:creationId xmlns:a16="http://schemas.microsoft.com/office/drawing/2014/main" id="{B75BF66D-B9FB-D6B0-3437-E8BA46BC7233}"/>
              </a:ext>
            </a:extLst>
          </p:cNvPr>
          <p:cNvCxnSpPr>
            <a:cxnSpLocks/>
            <a:stCxn id="18" idx="2"/>
            <a:endCxn id="43" idx="1"/>
          </p:cNvCxnSpPr>
          <p:nvPr/>
        </p:nvCxnSpPr>
        <p:spPr>
          <a:xfrm rot="16200000" flipH="1">
            <a:off x="1073395" y="4740212"/>
            <a:ext cx="746833" cy="582944"/>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46" name="Freeform 556">
            <a:extLst>
              <a:ext uri="{FF2B5EF4-FFF2-40B4-BE49-F238E27FC236}">
                <a16:creationId xmlns:a16="http://schemas.microsoft.com/office/drawing/2014/main" id="{EB9E6E2C-19D7-82BD-9193-A1C6793516D8}"/>
              </a:ext>
            </a:extLst>
          </p:cNvPr>
          <p:cNvSpPr>
            <a:spLocks noChangeAspect="1" noEditPoints="1"/>
          </p:cNvSpPr>
          <p:nvPr/>
        </p:nvSpPr>
        <p:spPr bwMode="auto">
          <a:xfrm>
            <a:off x="1240851" y="4928656"/>
            <a:ext cx="389425" cy="397617"/>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7" name="Picture 46" descr="A screenshot of a computer&#10;&#10;Description automatically generated">
            <a:extLst>
              <a:ext uri="{FF2B5EF4-FFF2-40B4-BE49-F238E27FC236}">
                <a16:creationId xmlns:a16="http://schemas.microsoft.com/office/drawing/2014/main" id="{40D53B3B-974D-F657-6C08-5E41887AD0BA}"/>
              </a:ext>
            </a:extLst>
          </p:cNvPr>
          <p:cNvPicPr>
            <a:picLocks noChangeAspect="1"/>
          </p:cNvPicPr>
          <p:nvPr/>
        </p:nvPicPr>
        <p:blipFill rotWithShape="1">
          <a:blip r:embed="rId10">
            <a:extLst>
              <a:ext uri="{28A0092B-C50C-407E-A947-70E740481C1C}">
                <a14:useLocalDpi xmlns:a14="http://schemas.microsoft.com/office/drawing/2010/main" val="0"/>
              </a:ext>
            </a:extLst>
          </a:blip>
          <a:srcRect l="45112" t="58436" r="46708" b="28831"/>
          <a:stretch/>
        </p:blipFill>
        <p:spPr>
          <a:xfrm>
            <a:off x="2676406" y="4676202"/>
            <a:ext cx="1230257" cy="1214330"/>
          </a:xfrm>
          <a:prstGeom prst="rect">
            <a:avLst/>
          </a:prstGeom>
        </p:spPr>
      </p:pic>
      <p:cxnSp>
        <p:nvCxnSpPr>
          <p:cNvPr id="52" name="Connector: Elbow 51">
            <a:extLst>
              <a:ext uri="{FF2B5EF4-FFF2-40B4-BE49-F238E27FC236}">
                <a16:creationId xmlns:a16="http://schemas.microsoft.com/office/drawing/2014/main" id="{B4BC1FC9-B9EF-268E-D05C-04DB3F20DC19}"/>
              </a:ext>
            </a:extLst>
          </p:cNvPr>
          <p:cNvCxnSpPr>
            <a:cxnSpLocks/>
          </p:cNvCxnSpPr>
          <p:nvPr/>
        </p:nvCxnSpPr>
        <p:spPr>
          <a:xfrm flipV="1">
            <a:off x="4799395" y="4728367"/>
            <a:ext cx="377975" cy="684227"/>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53" name="Freeform 556">
            <a:extLst>
              <a:ext uri="{FF2B5EF4-FFF2-40B4-BE49-F238E27FC236}">
                <a16:creationId xmlns:a16="http://schemas.microsoft.com/office/drawing/2014/main" id="{1BE3B21F-0E3C-238B-F95D-698BC220E611}"/>
              </a:ext>
            </a:extLst>
          </p:cNvPr>
          <p:cNvSpPr>
            <a:spLocks noChangeAspect="1" noEditPoints="1"/>
          </p:cNvSpPr>
          <p:nvPr/>
        </p:nvSpPr>
        <p:spPr bwMode="auto">
          <a:xfrm>
            <a:off x="4650072" y="4943680"/>
            <a:ext cx="389425" cy="397617"/>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54" name="Connector: Elbow 53">
            <a:extLst>
              <a:ext uri="{FF2B5EF4-FFF2-40B4-BE49-F238E27FC236}">
                <a16:creationId xmlns:a16="http://schemas.microsoft.com/office/drawing/2014/main" id="{1DD0F6B2-717D-77E5-E179-BC1F8307F394}"/>
              </a:ext>
            </a:extLst>
          </p:cNvPr>
          <p:cNvCxnSpPr>
            <a:cxnSpLocks/>
          </p:cNvCxnSpPr>
          <p:nvPr/>
        </p:nvCxnSpPr>
        <p:spPr>
          <a:xfrm rot="16200000" flipH="1" flipV="1">
            <a:off x="3142512" y="743996"/>
            <a:ext cx="18348" cy="3992694"/>
          </a:xfrm>
          <a:prstGeom prst="bentConnector3">
            <a:avLst>
              <a:gd name="adj1" fmla="val -1245912"/>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aphic 4">
            <a:extLst>
              <a:ext uri="{FF2B5EF4-FFF2-40B4-BE49-F238E27FC236}">
                <a16:creationId xmlns:a16="http://schemas.microsoft.com/office/drawing/2014/main" id="{52B981A7-463C-4AA8-A728-005F5B6EF021}"/>
              </a:ext>
            </a:extLst>
          </p:cNvPr>
          <p:cNvGrpSpPr/>
          <p:nvPr/>
        </p:nvGrpSpPr>
        <p:grpSpPr>
          <a:xfrm>
            <a:off x="1979939" y="1642814"/>
            <a:ext cx="388310" cy="446646"/>
            <a:chOff x="10324860" y="1402085"/>
            <a:chExt cx="361670" cy="361333"/>
          </a:xfrm>
          <a:solidFill>
            <a:schemeClr val="accent4"/>
          </a:solidFill>
        </p:grpSpPr>
        <p:sp>
          <p:nvSpPr>
            <p:cNvPr id="56" name="Graphic 4">
              <a:extLst>
                <a:ext uri="{FF2B5EF4-FFF2-40B4-BE49-F238E27FC236}">
                  <a16:creationId xmlns:a16="http://schemas.microsoft.com/office/drawing/2014/main" id="{3927E7C9-E379-9D22-BE05-54C9E708ABA2}"/>
                </a:ext>
              </a:extLst>
            </p:cNvPr>
            <p:cNvSpPr/>
            <p:nvPr/>
          </p:nvSpPr>
          <p:spPr>
            <a:xfrm>
              <a:off x="10403456" y="1554662"/>
              <a:ext cx="169972" cy="91291"/>
            </a:xfrm>
            <a:custGeom>
              <a:avLst/>
              <a:gdLst>
                <a:gd name="connsiteX0" fmla="*/ 0 w 169972"/>
                <a:gd name="connsiteY0" fmla="*/ 0 h 91291"/>
                <a:gd name="connsiteX1" fmla="*/ 0 w 169972"/>
                <a:gd name="connsiteY1" fmla="*/ 91291 h 91291"/>
                <a:gd name="connsiteX2" fmla="*/ 169972 w 169972"/>
                <a:gd name="connsiteY2" fmla="*/ 91291 h 91291"/>
                <a:gd name="connsiteX3" fmla="*/ 169972 w 169972"/>
                <a:gd name="connsiteY3" fmla="*/ 0 h 91291"/>
                <a:gd name="connsiteX4" fmla="*/ 0 w 169972"/>
                <a:gd name="connsiteY4" fmla="*/ 0 h 91291"/>
                <a:gd name="connsiteX5" fmla="*/ 84986 w 169972"/>
                <a:gd name="connsiteY5" fmla="*/ 51072 h 91291"/>
                <a:gd name="connsiteX6" fmla="*/ 68373 w 169972"/>
                <a:gd name="connsiteY6" fmla="*/ 34474 h 91291"/>
                <a:gd name="connsiteX7" fmla="*/ 80513 w 169972"/>
                <a:gd name="connsiteY7" fmla="*/ 18514 h 91291"/>
                <a:gd name="connsiteX8" fmla="*/ 80513 w 169972"/>
                <a:gd name="connsiteY8" fmla="*/ 14683 h 91291"/>
                <a:gd name="connsiteX9" fmla="*/ 85625 w 169972"/>
                <a:gd name="connsiteY9" fmla="*/ 9576 h 91291"/>
                <a:gd name="connsiteX10" fmla="*/ 90738 w 169972"/>
                <a:gd name="connsiteY10" fmla="*/ 14683 h 91291"/>
                <a:gd name="connsiteX11" fmla="*/ 90738 w 169972"/>
                <a:gd name="connsiteY11" fmla="*/ 18514 h 91291"/>
                <a:gd name="connsiteX12" fmla="*/ 102878 w 169972"/>
                <a:gd name="connsiteY12" fmla="*/ 34474 h 91291"/>
                <a:gd name="connsiteX13" fmla="*/ 97766 w 169972"/>
                <a:gd name="connsiteY13" fmla="*/ 39581 h 91291"/>
                <a:gd name="connsiteX14" fmla="*/ 92654 w 169972"/>
                <a:gd name="connsiteY14" fmla="*/ 34474 h 91291"/>
                <a:gd name="connsiteX15" fmla="*/ 85625 w 169972"/>
                <a:gd name="connsiteY15" fmla="*/ 27451 h 91291"/>
                <a:gd name="connsiteX16" fmla="*/ 78597 w 169972"/>
                <a:gd name="connsiteY16" fmla="*/ 34474 h 91291"/>
                <a:gd name="connsiteX17" fmla="*/ 85625 w 169972"/>
                <a:gd name="connsiteY17" fmla="*/ 41496 h 91291"/>
                <a:gd name="connsiteX18" fmla="*/ 102239 w 169972"/>
                <a:gd name="connsiteY18" fmla="*/ 58094 h 91291"/>
                <a:gd name="connsiteX19" fmla="*/ 90098 w 169972"/>
                <a:gd name="connsiteY19" fmla="*/ 74054 h 91291"/>
                <a:gd name="connsiteX20" fmla="*/ 90098 w 169972"/>
                <a:gd name="connsiteY20" fmla="*/ 77885 h 91291"/>
                <a:gd name="connsiteX21" fmla="*/ 84986 w 169972"/>
                <a:gd name="connsiteY21" fmla="*/ 82992 h 91291"/>
                <a:gd name="connsiteX22" fmla="*/ 79874 w 169972"/>
                <a:gd name="connsiteY22" fmla="*/ 77885 h 91291"/>
                <a:gd name="connsiteX23" fmla="*/ 79874 w 169972"/>
                <a:gd name="connsiteY23" fmla="*/ 74054 h 91291"/>
                <a:gd name="connsiteX24" fmla="*/ 67733 w 169972"/>
                <a:gd name="connsiteY24" fmla="*/ 58094 h 91291"/>
                <a:gd name="connsiteX25" fmla="*/ 72845 w 169972"/>
                <a:gd name="connsiteY25" fmla="*/ 52987 h 91291"/>
                <a:gd name="connsiteX26" fmla="*/ 77958 w 169972"/>
                <a:gd name="connsiteY26" fmla="*/ 58094 h 91291"/>
                <a:gd name="connsiteX27" fmla="*/ 84986 w 169972"/>
                <a:gd name="connsiteY27" fmla="*/ 65117 h 91291"/>
                <a:gd name="connsiteX28" fmla="*/ 92015 w 169972"/>
                <a:gd name="connsiteY28" fmla="*/ 58094 h 91291"/>
                <a:gd name="connsiteX29" fmla="*/ 84986 w 169972"/>
                <a:gd name="connsiteY29" fmla="*/ 51072 h 9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9972" h="91291">
                  <a:moveTo>
                    <a:pt x="0" y="0"/>
                  </a:moveTo>
                  <a:lnTo>
                    <a:pt x="0" y="91291"/>
                  </a:lnTo>
                  <a:lnTo>
                    <a:pt x="169972" y="91291"/>
                  </a:lnTo>
                  <a:lnTo>
                    <a:pt x="169972" y="0"/>
                  </a:lnTo>
                  <a:lnTo>
                    <a:pt x="0" y="0"/>
                  </a:lnTo>
                  <a:close/>
                  <a:moveTo>
                    <a:pt x="84986" y="51072"/>
                  </a:moveTo>
                  <a:cubicBezTo>
                    <a:pt x="76040" y="51072"/>
                    <a:pt x="68373" y="43411"/>
                    <a:pt x="68373" y="34474"/>
                  </a:cubicBezTo>
                  <a:cubicBezTo>
                    <a:pt x="68373" y="26813"/>
                    <a:pt x="73484" y="20429"/>
                    <a:pt x="80513" y="18514"/>
                  </a:cubicBezTo>
                  <a:lnTo>
                    <a:pt x="80513" y="14683"/>
                  </a:lnTo>
                  <a:cubicBezTo>
                    <a:pt x="80513" y="12130"/>
                    <a:pt x="82430" y="9576"/>
                    <a:pt x="85625" y="9576"/>
                  </a:cubicBezTo>
                  <a:cubicBezTo>
                    <a:pt x="88820" y="9576"/>
                    <a:pt x="90738" y="11491"/>
                    <a:pt x="90738" y="14683"/>
                  </a:cubicBezTo>
                  <a:lnTo>
                    <a:pt x="90738" y="18514"/>
                  </a:lnTo>
                  <a:cubicBezTo>
                    <a:pt x="97766" y="20429"/>
                    <a:pt x="102878" y="26813"/>
                    <a:pt x="102878" y="34474"/>
                  </a:cubicBezTo>
                  <a:cubicBezTo>
                    <a:pt x="102878" y="37027"/>
                    <a:pt x="100961" y="39581"/>
                    <a:pt x="97766" y="39581"/>
                  </a:cubicBezTo>
                  <a:cubicBezTo>
                    <a:pt x="94571" y="39581"/>
                    <a:pt x="92654" y="37666"/>
                    <a:pt x="92654" y="34474"/>
                  </a:cubicBezTo>
                  <a:cubicBezTo>
                    <a:pt x="92654" y="30643"/>
                    <a:pt x="89459" y="27451"/>
                    <a:pt x="85625" y="27451"/>
                  </a:cubicBezTo>
                  <a:cubicBezTo>
                    <a:pt x="81792" y="27451"/>
                    <a:pt x="78597" y="30643"/>
                    <a:pt x="78597" y="34474"/>
                  </a:cubicBezTo>
                  <a:cubicBezTo>
                    <a:pt x="78597" y="38304"/>
                    <a:pt x="81792" y="41496"/>
                    <a:pt x="85625" y="41496"/>
                  </a:cubicBezTo>
                  <a:cubicBezTo>
                    <a:pt x="95210" y="41496"/>
                    <a:pt x="102239" y="49157"/>
                    <a:pt x="102239" y="58094"/>
                  </a:cubicBezTo>
                  <a:cubicBezTo>
                    <a:pt x="102239" y="65755"/>
                    <a:pt x="97128" y="72139"/>
                    <a:pt x="90098" y="74054"/>
                  </a:cubicBezTo>
                  <a:lnTo>
                    <a:pt x="90098" y="77885"/>
                  </a:lnTo>
                  <a:cubicBezTo>
                    <a:pt x="90098" y="80438"/>
                    <a:pt x="88181" y="82992"/>
                    <a:pt x="84986" y="82992"/>
                  </a:cubicBezTo>
                  <a:cubicBezTo>
                    <a:pt x="81792" y="82992"/>
                    <a:pt x="79874" y="81077"/>
                    <a:pt x="79874" y="77885"/>
                  </a:cubicBezTo>
                  <a:lnTo>
                    <a:pt x="79874" y="74054"/>
                  </a:lnTo>
                  <a:cubicBezTo>
                    <a:pt x="72845" y="72139"/>
                    <a:pt x="67733" y="65755"/>
                    <a:pt x="67733" y="58094"/>
                  </a:cubicBezTo>
                  <a:cubicBezTo>
                    <a:pt x="67733" y="55541"/>
                    <a:pt x="69650" y="52987"/>
                    <a:pt x="72845" y="52987"/>
                  </a:cubicBezTo>
                  <a:cubicBezTo>
                    <a:pt x="76040" y="52987"/>
                    <a:pt x="77958" y="54902"/>
                    <a:pt x="77958" y="58094"/>
                  </a:cubicBezTo>
                  <a:cubicBezTo>
                    <a:pt x="77958" y="61925"/>
                    <a:pt x="81153" y="65117"/>
                    <a:pt x="84986" y="65117"/>
                  </a:cubicBezTo>
                  <a:cubicBezTo>
                    <a:pt x="88820" y="65117"/>
                    <a:pt x="92015" y="61925"/>
                    <a:pt x="92015" y="58094"/>
                  </a:cubicBezTo>
                  <a:cubicBezTo>
                    <a:pt x="92654" y="54264"/>
                    <a:pt x="88820" y="51072"/>
                    <a:pt x="84986" y="5107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Graphic 4">
              <a:extLst>
                <a:ext uri="{FF2B5EF4-FFF2-40B4-BE49-F238E27FC236}">
                  <a16:creationId xmlns:a16="http://schemas.microsoft.com/office/drawing/2014/main" id="{47389E57-7379-052D-D9A4-77A32AC31470}"/>
                </a:ext>
              </a:extLst>
            </p:cNvPr>
            <p:cNvSpPr/>
            <p:nvPr/>
          </p:nvSpPr>
          <p:spPr>
            <a:xfrm>
              <a:off x="10438601" y="1520188"/>
              <a:ext cx="169972" cy="91929"/>
            </a:xfrm>
            <a:custGeom>
              <a:avLst/>
              <a:gdLst>
                <a:gd name="connsiteX0" fmla="*/ 0 w 169972"/>
                <a:gd name="connsiteY0" fmla="*/ 21706 h 91929"/>
                <a:gd name="connsiteX1" fmla="*/ 141217 w 169972"/>
                <a:gd name="connsiteY1" fmla="*/ 21706 h 91929"/>
                <a:gd name="connsiteX2" fmla="*/ 147607 w 169972"/>
                <a:gd name="connsiteY2" fmla="*/ 28089 h 91929"/>
                <a:gd name="connsiteX3" fmla="*/ 147607 w 169972"/>
                <a:gd name="connsiteY3" fmla="*/ 91929 h 91929"/>
                <a:gd name="connsiteX4" fmla="*/ 150164 w 169972"/>
                <a:gd name="connsiteY4" fmla="*/ 91291 h 91929"/>
                <a:gd name="connsiteX5" fmla="*/ 169972 w 169972"/>
                <a:gd name="connsiteY5" fmla="*/ 91291 h 91929"/>
                <a:gd name="connsiteX6" fmla="*/ 169972 w 169972"/>
                <a:gd name="connsiteY6" fmla="*/ 0 h 91929"/>
                <a:gd name="connsiteX7" fmla="*/ 0 w 169972"/>
                <a:gd name="connsiteY7" fmla="*/ 0 h 91929"/>
                <a:gd name="connsiteX8" fmla="*/ 0 w 169972"/>
                <a:gd name="connsiteY8" fmla="*/ 21706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72" h="91929">
                  <a:moveTo>
                    <a:pt x="0" y="21706"/>
                  </a:moveTo>
                  <a:lnTo>
                    <a:pt x="141217" y="21706"/>
                  </a:lnTo>
                  <a:cubicBezTo>
                    <a:pt x="145052" y="21706"/>
                    <a:pt x="147607" y="24259"/>
                    <a:pt x="147607" y="28089"/>
                  </a:cubicBezTo>
                  <a:lnTo>
                    <a:pt x="147607" y="91929"/>
                  </a:lnTo>
                  <a:cubicBezTo>
                    <a:pt x="148247" y="91929"/>
                    <a:pt x="148886" y="91291"/>
                    <a:pt x="150164" y="91291"/>
                  </a:cubicBezTo>
                  <a:lnTo>
                    <a:pt x="169972" y="91291"/>
                  </a:lnTo>
                  <a:lnTo>
                    <a:pt x="169972" y="0"/>
                  </a:lnTo>
                  <a:lnTo>
                    <a:pt x="0" y="0"/>
                  </a:lnTo>
                  <a:lnTo>
                    <a:pt x="0"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8" name="Graphic 4">
              <a:extLst>
                <a:ext uri="{FF2B5EF4-FFF2-40B4-BE49-F238E27FC236}">
                  <a16:creationId xmlns:a16="http://schemas.microsoft.com/office/drawing/2014/main" id="{984744EE-0FB2-53A2-6E27-4A5942D1030D}"/>
                </a:ext>
              </a:extLst>
            </p:cNvPr>
            <p:cNvSpPr/>
            <p:nvPr/>
          </p:nvSpPr>
          <p:spPr>
            <a:xfrm>
              <a:off x="10324860"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6492 w 361670"/>
                <a:gd name="connsiteY5" fmla="*/ 215779 h 361333"/>
                <a:gd name="connsiteX6" fmla="*/ 290103 w 361670"/>
                <a:gd name="connsiteY6" fmla="*/ 222163 h 361333"/>
                <a:gd name="connsiteX7" fmla="*/ 263904 w 361670"/>
                <a:gd name="connsiteY7" fmla="*/ 222163 h 361333"/>
                <a:gd name="connsiteX8" fmla="*/ 261348 w 361670"/>
                <a:gd name="connsiteY8" fmla="*/ 221524 h 361333"/>
                <a:gd name="connsiteX9" fmla="*/ 261348 w 361670"/>
                <a:gd name="connsiteY9" fmla="*/ 250252 h 361333"/>
                <a:gd name="connsiteX10" fmla="*/ 254958 w 361670"/>
                <a:gd name="connsiteY10" fmla="*/ 256636 h 361333"/>
                <a:gd name="connsiteX11" fmla="*/ 72206 w 361670"/>
                <a:gd name="connsiteY11" fmla="*/ 256636 h 361333"/>
                <a:gd name="connsiteX12" fmla="*/ 65816 w 361670"/>
                <a:gd name="connsiteY12" fmla="*/ 250252 h 361333"/>
                <a:gd name="connsiteX13" fmla="*/ 65816 w 361670"/>
                <a:gd name="connsiteY13" fmla="*/ 146193 h 361333"/>
                <a:gd name="connsiteX14" fmla="*/ 72206 w 361670"/>
                <a:gd name="connsiteY14" fmla="*/ 139809 h 361333"/>
                <a:gd name="connsiteX15" fmla="*/ 100322 w 361670"/>
                <a:gd name="connsiteY15" fmla="*/ 139809 h 361333"/>
                <a:gd name="connsiteX16" fmla="*/ 100322 w 361670"/>
                <a:gd name="connsiteY16" fmla="*/ 111720 h 361333"/>
                <a:gd name="connsiteX17" fmla="*/ 106712 w 361670"/>
                <a:gd name="connsiteY17" fmla="*/ 105336 h 361333"/>
                <a:gd name="connsiteX18" fmla="*/ 289464 w 361670"/>
                <a:gd name="connsiteY18" fmla="*/ 105336 h 361333"/>
                <a:gd name="connsiteX19" fmla="*/ 295854 w 361670"/>
                <a:gd name="connsiteY19" fmla="*/ 111720 h 361333"/>
                <a:gd name="connsiteX20" fmla="*/ 295854 w 361670"/>
                <a:gd name="connsiteY20" fmla="*/ 21577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96492" y="215779"/>
                  </a:moveTo>
                  <a:cubicBezTo>
                    <a:pt x="296492" y="219609"/>
                    <a:pt x="293937" y="222163"/>
                    <a:pt x="290103" y="222163"/>
                  </a:cubicBezTo>
                  <a:lnTo>
                    <a:pt x="263904" y="222163"/>
                  </a:lnTo>
                  <a:cubicBezTo>
                    <a:pt x="263265" y="222163"/>
                    <a:pt x="262626" y="222163"/>
                    <a:pt x="261348" y="221524"/>
                  </a:cubicBezTo>
                  <a:lnTo>
                    <a:pt x="261348" y="250252"/>
                  </a:lnTo>
                  <a:cubicBezTo>
                    <a:pt x="261348" y="254082"/>
                    <a:pt x="258792" y="256636"/>
                    <a:pt x="254958" y="256636"/>
                  </a:cubicBezTo>
                  <a:lnTo>
                    <a:pt x="72206" y="256636"/>
                  </a:lnTo>
                  <a:cubicBezTo>
                    <a:pt x="68372" y="256636"/>
                    <a:pt x="65816" y="254082"/>
                    <a:pt x="65816" y="250252"/>
                  </a:cubicBezTo>
                  <a:lnTo>
                    <a:pt x="65816" y="146193"/>
                  </a:lnTo>
                  <a:cubicBezTo>
                    <a:pt x="65816" y="142363"/>
                    <a:pt x="68372" y="139809"/>
                    <a:pt x="72206" y="139809"/>
                  </a:cubicBezTo>
                  <a:lnTo>
                    <a:pt x="100322" y="139809"/>
                  </a:lnTo>
                  <a:lnTo>
                    <a:pt x="100322" y="111720"/>
                  </a:lnTo>
                  <a:cubicBezTo>
                    <a:pt x="100322" y="107889"/>
                    <a:pt x="102878" y="105336"/>
                    <a:pt x="106712" y="105336"/>
                  </a:cubicBezTo>
                  <a:lnTo>
                    <a:pt x="289464" y="105336"/>
                  </a:lnTo>
                  <a:cubicBezTo>
                    <a:pt x="293298" y="105336"/>
                    <a:pt x="295854" y="107889"/>
                    <a:pt x="295854" y="111720"/>
                  </a:cubicBezTo>
                  <a:lnTo>
                    <a:pt x="295854" y="21577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cxnSp>
        <p:nvCxnSpPr>
          <p:cNvPr id="59" name="Straight Connector 58">
            <a:extLst>
              <a:ext uri="{FF2B5EF4-FFF2-40B4-BE49-F238E27FC236}">
                <a16:creationId xmlns:a16="http://schemas.microsoft.com/office/drawing/2014/main" id="{F007D45E-1984-C4C4-4412-BB150F99F595}"/>
              </a:ext>
            </a:extLst>
          </p:cNvPr>
          <p:cNvCxnSpPr>
            <a:cxnSpLocks/>
          </p:cNvCxnSpPr>
          <p:nvPr/>
        </p:nvCxnSpPr>
        <p:spPr>
          <a:xfrm>
            <a:off x="2293868" y="5397194"/>
            <a:ext cx="633997" cy="1540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4FF0075-059C-FEA6-A506-1C40598012D2}"/>
              </a:ext>
            </a:extLst>
          </p:cNvPr>
          <p:cNvCxnSpPr>
            <a:cxnSpLocks/>
          </p:cNvCxnSpPr>
          <p:nvPr/>
        </p:nvCxnSpPr>
        <p:spPr>
          <a:xfrm>
            <a:off x="3523388" y="5381794"/>
            <a:ext cx="633997" cy="1540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61" name="Textbox 38">
            <a:extLst>
              <a:ext uri="{FF2B5EF4-FFF2-40B4-BE49-F238E27FC236}">
                <a16:creationId xmlns:a16="http://schemas.microsoft.com/office/drawing/2014/main" id="{A51FC6D8-88DE-E386-E4CD-BFE2C78BDD7C}"/>
              </a:ext>
            </a:extLst>
          </p:cNvPr>
          <p:cNvSpPr txBox="1"/>
          <p:nvPr/>
        </p:nvSpPr>
        <p:spPr>
          <a:xfrm>
            <a:off x="3187210" y="5961822"/>
            <a:ext cx="1722335" cy="139007"/>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ΕΧΕ</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62" name="TextBox 61">
            <a:extLst>
              <a:ext uri="{FF2B5EF4-FFF2-40B4-BE49-F238E27FC236}">
                <a16:creationId xmlns:a16="http://schemas.microsoft.com/office/drawing/2014/main" id="{589C74FF-411B-E5B1-1EFE-757F0D6370A9}"/>
              </a:ext>
            </a:extLst>
          </p:cNvPr>
          <p:cNvSpPr txBox="1"/>
          <p:nvPr/>
        </p:nvSpPr>
        <p:spPr>
          <a:xfrm>
            <a:off x="1254791" y="1834907"/>
            <a:ext cx="6094070" cy="474489"/>
          </a:xfrm>
          <a:prstGeom prst="rect">
            <a:avLst/>
          </a:prstGeom>
          <a:noFill/>
        </p:spPr>
        <p:txBody>
          <a:bodyPr wrap="square">
            <a:sp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                               </a:t>
            </a:r>
            <a:r>
              <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PPA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διακανονισμός</a:t>
            </a:r>
          </a:p>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Διακανονισμός διαφοράς τιμής συμβολαίου με τιμή αγοράς</a:t>
            </a:r>
            <a:endPar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63" name="Straight Arrow Connector 62">
            <a:extLst>
              <a:ext uri="{FF2B5EF4-FFF2-40B4-BE49-F238E27FC236}">
                <a16:creationId xmlns:a16="http://schemas.microsoft.com/office/drawing/2014/main" id="{29098BF8-4DA0-4DC3-6821-CA20B97ABB06}"/>
              </a:ext>
            </a:extLst>
          </p:cNvPr>
          <p:cNvCxnSpPr>
            <a:cxnSpLocks/>
          </p:cNvCxnSpPr>
          <p:nvPr/>
        </p:nvCxnSpPr>
        <p:spPr>
          <a:xfrm>
            <a:off x="1254791" y="2749517"/>
            <a:ext cx="3833043" cy="0"/>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38">
            <a:extLst>
              <a:ext uri="{FF2B5EF4-FFF2-40B4-BE49-F238E27FC236}">
                <a16:creationId xmlns:a16="http://schemas.microsoft.com/office/drawing/2014/main" id="{A8AA69F0-FC04-03F6-32C9-BDA6AECE77AE}"/>
              </a:ext>
            </a:extLst>
          </p:cNvPr>
          <p:cNvSpPr txBox="1"/>
          <p:nvPr/>
        </p:nvSpPr>
        <p:spPr>
          <a:xfrm>
            <a:off x="2357122" y="2822884"/>
            <a:ext cx="3820280" cy="313231"/>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Εγγύηση Προέλευσης/ </a:t>
            </a:r>
          </a:p>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Πιστοποιητικό Ανανεώσιμων Πηγών</a:t>
            </a:r>
            <a:endPar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65" name="Connector: Elbow 64">
            <a:extLst>
              <a:ext uri="{FF2B5EF4-FFF2-40B4-BE49-F238E27FC236}">
                <a16:creationId xmlns:a16="http://schemas.microsoft.com/office/drawing/2014/main" id="{BE3E68D8-6D57-68A5-1AEA-B1A427A19248}"/>
              </a:ext>
            </a:extLst>
          </p:cNvPr>
          <p:cNvCxnSpPr>
            <a:cxnSpLocks/>
          </p:cNvCxnSpPr>
          <p:nvPr/>
        </p:nvCxnSpPr>
        <p:spPr>
          <a:xfrm rot="5400000">
            <a:off x="4514072" y="4800424"/>
            <a:ext cx="1026244" cy="615907"/>
          </a:xfrm>
          <a:prstGeom prst="bentConnector3">
            <a:avLst>
              <a:gd name="adj1" fmla="val 100754"/>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66" name="Graphic 4">
            <a:extLst>
              <a:ext uri="{FF2B5EF4-FFF2-40B4-BE49-F238E27FC236}">
                <a16:creationId xmlns:a16="http://schemas.microsoft.com/office/drawing/2014/main" id="{7B8C69F2-CC76-6FB3-8063-CF85444033EF}"/>
              </a:ext>
            </a:extLst>
          </p:cNvPr>
          <p:cNvGrpSpPr/>
          <p:nvPr/>
        </p:nvGrpSpPr>
        <p:grpSpPr>
          <a:xfrm>
            <a:off x="5421446" y="5060044"/>
            <a:ext cx="388310" cy="446646"/>
            <a:chOff x="10324860" y="1402085"/>
            <a:chExt cx="361670" cy="361333"/>
          </a:xfrm>
          <a:solidFill>
            <a:schemeClr val="accent4"/>
          </a:solidFill>
        </p:grpSpPr>
        <p:sp>
          <p:nvSpPr>
            <p:cNvPr id="67" name="Graphic 4">
              <a:extLst>
                <a:ext uri="{FF2B5EF4-FFF2-40B4-BE49-F238E27FC236}">
                  <a16:creationId xmlns:a16="http://schemas.microsoft.com/office/drawing/2014/main" id="{D932D798-7A6B-EE6B-8F31-4A9681DDEDB0}"/>
                </a:ext>
              </a:extLst>
            </p:cNvPr>
            <p:cNvSpPr/>
            <p:nvPr/>
          </p:nvSpPr>
          <p:spPr>
            <a:xfrm>
              <a:off x="10403456" y="1554662"/>
              <a:ext cx="169972" cy="91291"/>
            </a:xfrm>
            <a:custGeom>
              <a:avLst/>
              <a:gdLst>
                <a:gd name="connsiteX0" fmla="*/ 0 w 169972"/>
                <a:gd name="connsiteY0" fmla="*/ 0 h 91291"/>
                <a:gd name="connsiteX1" fmla="*/ 0 w 169972"/>
                <a:gd name="connsiteY1" fmla="*/ 91291 h 91291"/>
                <a:gd name="connsiteX2" fmla="*/ 169972 w 169972"/>
                <a:gd name="connsiteY2" fmla="*/ 91291 h 91291"/>
                <a:gd name="connsiteX3" fmla="*/ 169972 w 169972"/>
                <a:gd name="connsiteY3" fmla="*/ 0 h 91291"/>
                <a:gd name="connsiteX4" fmla="*/ 0 w 169972"/>
                <a:gd name="connsiteY4" fmla="*/ 0 h 91291"/>
                <a:gd name="connsiteX5" fmla="*/ 84986 w 169972"/>
                <a:gd name="connsiteY5" fmla="*/ 51072 h 91291"/>
                <a:gd name="connsiteX6" fmla="*/ 68373 w 169972"/>
                <a:gd name="connsiteY6" fmla="*/ 34474 h 91291"/>
                <a:gd name="connsiteX7" fmla="*/ 80513 w 169972"/>
                <a:gd name="connsiteY7" fmla="*/ 18514 h 91291"/>
                <a:gd name="connsiteX8" fmla="*/ 80513 w 169972"/>
                <a:gd name="connsiteY8" fmla="*/ 14683 h 91291"/>
                <a:gd name="connsiteX9" fmla="*/ 85625 w 169972"/>
                <a:gd name="connsiteY9" fmla="*/ 9576 h 91291"/>
                <a:gd name="connsiteX10" fmla="*/ 90738 w 169972"/>
                <a:gd name="connsiteY10" fmla="*/ 14683 h 91291"/>
                <a:gd name="connsiteX11" fmla="*/ 90738 w 169972"/>
                <a:gd name="connsiteY11" fmla="*/ 18514 h 91291"/>
                <a:gd name="connsiteX12" fmla="*/ 102878 w 169972"/>
                <a:gd name="connsiteY12" fmla="*/ 34474 h 91291"/>
                <a:gd name="connsiteX13" fmla="*/ 97766 w 169972"/>
                <a:gd name="connsiteY13" fmla="*/ 39581 h 91291"/>
                <a:gd name="connsiteX14" fmla="*/ 92654 w 169972"/>
                <a:gd name="connsiteY14" fmla="*/ 34474 h 91291"/>
                <a:gd name="connsiteX15" fmla="*/ 85625 w 169972"/>
                <a:gd name="connsiteY15" fmla="*/ 27451 h 91291"/>
                <a:gd name="connsiteX16" fmla="*/ 78597 w 169972"/>
                <a:gd name="connsiteY16" fmla="*/ 34474 h 91291"/>
                <a:gd name="connsiteX17" fmla="*/ 85625 w 169972"/>
                <a:gd name="connsiteY17" fmla="*/ 41496 h 91291"/>
                <a:gd name="connsiteX18" fmla="*/ 102239 w 169972"/>
                <a:gd name="connsiteY18" fmla="*/ 58094 h 91291"/>
                <a:gd name="connsiteX19" fmla="*/ 90098 w 169972"/>
                <a:gd name="connsiteY19" fmla="*/ 74054 h 91291"/>
                <a:gd name="connsiteX20" fmla="*/ 90098 w 169972"/>
                <a:gd name="connsiteY20" fmla="*/ 77885 h 91291"/>
                <a:gd name="connsiteX21" fmla="*/ 84986 w 169972"/>
                <a:gd name="connsiteY21" fmla="*/ 82992 h 91291"/>
                <a:gd name="connsiteX22" fmla="*/ 79874 w 169972"/>
                <a:gd name="connsiteY22" fmla="*/ 77885 h 91291"/>
                <a:gd name="connsiteX23" fmla="*/ 79874 w 169972"/>
                <a:gd name="connsiteY23" fmla="*/ 74054 h 91291"/>
                <a:gd name="connsiteX24" fmla="*/ 67733 w 169972"/>
                <a:gd name="connsiteY24" fmla="*/ 58094 h 91291"/>
                <a:gd name="connsiteX25" fmla="*/ 72845 w 169972"/>
                <a:gd name="connsiteY25" fmla="*/ 52987 h 91291"/>
                <a:gd name="connsiteX26" fmla="*/ 77958 w 169972"/>
                <a:gd name="connsiteY26" fmla="*/ 58094 h 91291"/>
                <a:gd name="connsiteX27" fmla="*/ 84986 w 169972"/>
                <a:gd name="connsiteY27" fmla="*/ 65117 h 91291"/>
                <a:gd name="connsiteX28" fmla="*/ 92015 w 169972"/>
                <a:gd name="connsiteY28" fmla="*/ 58094 h 91291"/>
                <a:gd name="connsiteX29" fmla="*/ 84986 w 169972"/>
                <a:gd name="connsiteY29" fmla="*/ 51072 h 9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9972" h="91291">
                  <a:moveTo>
                    <a:pt x="0" y="0"/>
                  </a:moveTo>
                  <a:lnTo>
                    <a:pt x="0" y="91291"/>
                  </a:lnTo>
                  <a:lnTo>
                    <a:pt x="169972" y="91291"/>
                  </a:lnTo>
                  <a:lnTo>
                    <a:pt x="169972" y="0"/>
                  </a:lnTo>
                  <a:lnTo>
                    <a:pt x="0" y="0"/>
                  </a:lnTo>
                  <a:close/>
                  <a:moveTo>
                    <a:pt x="84986" y="51072"/>
                  </a:moveTo>
                  <a:cubicBezTo>
                    <a:pt x="76040" y="51072"/>
                    <a:pt x="68373" y="43411"/>
                    <a:pt x="68373" y="34474"/>
                  </a:cubicBezTo>
                  <a:cubicBezTo>
                    <a:pt x="68373" y="26813"/>
                    <a:pt x="73484" y="20429"/>
                    <a:pt x="80513" y="18514"/>
                  </a:cubicBezTo>
                  <a:lnTo>
                    <a:pt x="80513" y="14683"/>
                  </a:lnTo>
                  <a:cubicBezTo>
                    <a:pt x="80513" y="12130"/>
                    <a:pt x="82430" y="9576"/>
                    <a:pt x="85625" y="9576"/>
                  </a:cubicBezTo>
                  <a:cubicBezTo>
                    <a:pt x="88820" y="9576"/>
                    <a:pt x="90738" y="11491"/>
                    <a:pt x="90738" y="14683"/>
                  </a:cubicBezTo>
                  <a:lnTo>
                    <a:pt x="90738" y="18514"/>
                  </a:lnTo>
                  <a:cubicBezTo>
                    <a:pt x="97766" y="20429"/>
                    <a:pt x="102878" y="26813"/>
                    <a:pt x="102878" y="34474"/>
                  </a:cubicBezTo>
                  <a:cubicBezTo>
                    <a:pt x="102878" y="37027"/>
                    <a:pt x="100961" y="39581"/>
                    <a:pt x="97766" y="39581"/>
                  </a:cubicBezTo>
                  <a:cubicBezTo>
                    <a:pt x="94571" y="39581"/>
                    <a:pt x="92654" y="37666"/>
                    <a:pt x="92654" y="34474"/>
                  </a:cubicBezTo>
                  <a:cubicBezTo>
                    <a:pt x="92654" y="30643"/>
                    <a:pt x="89459" y="27451"/>
                    <a:pt x="85625" y="27451"/>
                  </a:cubicBezTo>
                  <a:cubicBezTo>
                    <a:pt x="81792" y="27451"/>
                    <a:pt x="78597" y="30643"/>
                    <a:pt x="78597" y="34474"/>
                  </a:cubicBezTo>
                  <a:cubicBezTo>
                    <a:pt x="78597" y="38304"/>
                    <a:pt x="81792" y="41496"/>
                    <a:pt x="85625" y="41496"/>
                  </a:cubicBezTo>
                  <a:cubicBezTo>
                    <a:pt x="95210" y="41496"/>
                    <a:pt x="102239" y="49157"/>
                    <a:pt x="102239" y="58094"/>
                  </a:cubicBezTo>
                  <a:cubicBezTo>
                    <a:pt x="102239" y="65755"/>
                    <a:pt x="97128" y="72139"/>
                    <a:pt x="90098" y="74054"/>
                  </a:cubicBezTo>
                  <a:lnTo>
                    <a:pt x="90098" y="77885"/>
                  </a:lnTo>
                  <a:cubicBezTo>
                    <a:pt x="90098" y="80438"/>
                    <a:pt x="88181" y="82992"/>
                    <a:pt x="84986" y="82992"/>
                  </a:cubicBezTo>
                  <a:cubicBezTo>
                    <a:pt x="81792" y="82992"/>
                    <a:pt x="79874" y="81077"/>
                    <a:pt x="79874" y="77885"/>
                  </a:cubicBezTo>
                  <a:lnTo>
                    <a:pt x="79874" y="74054"/>
                  </a:lnTo>
                  <a:cubicBezTo>
                    <a:pt x="72845" y="72139"/>
                    <a:pt x="67733" y="65755"/>
                    <a:pt x="67733" y="58094"/>
                  </a:cubicBezTo>
                  <a:cubicBezTo>
                    <a:pt x="67733" y="55541"/>
                    <a:pt x="69650" y="52987"/>
                    <a:pt x="72845" y="52987"/>
                  </a:cubicBezTo>
                  <a:cubicBezTo>
                    <a:pt x="76040" y="52987"/>
                    <a:pt x="77958" y="54902"/>
                    <a:pt x="77958" y="58094"/>
                  </a:cubicBezTo>
                  <a:cubicBezTo>
                    <a:pt x="77958" y="61925"/>
                    <a:pt x="81153" y="65117"/>
                    <a:pt x="84986" y="65117"/>
                  </a:cubicBezTo>
                  <a:cubicBezTo>
                    <a:pt x="88820" y="65117"/>
                    <a:pt x="92015" y="61925"/>
                    <a:pt x="92015" y="58094"/>
                  </a:cubicBezTo>
                  <a:cubicBezTo>
                    <a:pt x="92654" y="54264"/>
                    <a:pt x="88820" y="51072"/>
                    <a:pt x="84986" y="5107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8" name="Graphic 4">
              <a:extLst>
                <a:ext uri="{FF2B5EF4-FFF2-40B4-BE49-F238E27FC236}">
                  <a16:creationId xmlns:a16="http://schemas.microsoft.com/office/drawing/2014/main" id="{5116F3F5-FC9B-5EFE-8C28-55E89E6DC6CF}"/>
                </a:ext>
              </a:extLst>
            </p:cNvPr>
            <p:cNvSpPr/>
            <p:nvPr/>
          </p:nvSpPr>
          <p:spPr>
            <a:xfrm>
              <a:off x="10438601" y="1520188"/>
              <a:ext cx="169972" cy="91929"/>
            </a:xfrm>
            <a:custGeom>
              <a:avLst/>
              <a:gdLst>
                <a:gd name="connsiteX0" fmla="*/ 0 w 169972"/>
                <a:gd name="connsiteY0" fmla="*/ 21706 h 91929"/>
                <a:gd name="connsiteX1" fmla="*/ 141217 w 169972"/>
                <a:gd name="connsiteY1" fmla="*/ 21706 h 91929"/>
                <a:gd name="connsiteX2" fmla="*/ 147607 w 169972"/>
                <a:gd name="connsiteY2" fmla="*/ 28089 h 91929"/>
                <a:gd name="connsiteX3" fmla="*/ 147607 w 169972"/>
                <a:gd name="connsiteY3" fmla="*/ 91929 h 91929"/>
                <a:gd name="connsiteX4" fmla="*/ 150164 w 169972"/>
                <a:gd name="connsiteY4" fmla="*/ 91291 h 91929"/>
                <a:gd name="connsiteX5" fmla="*/ 169972 w 169972"/>
                <a:gd name="connsiteY5" fmla="*/ 91291 h 91929"/>
                <a:gd name="connsiteX6" fmla="*/ 169972 w 169972"/>
                <a:gd name="connsiteY6" fmla="*/ 0 h 91929"/>
                <a:gd name="connsiteX7" fmla="*/ 0 w 169972"/>
                <a:gd name="connsiteY7" fmla="*/ 0 h 91929"/>
                <a:gd name="connsiteX8" fmla="*/ 0 w 169972"/>
                <a:gd name="connsiteY8" fmla="*/ 21706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72" h="91929">
                  <a:moveTo>
                    <a:pt x="0" y="21706"/>
                  </a:moveTo>
                  <a:lnTo>
                    <a:pt x="141217" y="21706"/>
                  </a:lnTo>
                  <a:cubicBezTo>
                    <a:pt x="145052" y="21706"/>
                    <a:pt x="147607" y="24259"/>
                    <a:pt x="147607" y="28089"/>
                  </a:cubicBezTo>
                  <a:lnTo>
                    <a:pt x="147607" y="91929"/>
                  </a:lnTo>
                  <a:cubicBezTo>
                    <a:pt x="148247" y="91929"/>
                    <a:pt x="148886" y="91291"/>
                    <a:pt x="150164" y="91291"/>
                  </a:cubicBezTo>
                  <a:lnTo>
                    <a:pt x="169972" y="91291"/>
                  </a:lnTo>
                  <a:lnTo>
                    <a:pt x="169972" y="0"/>
                  </a:lnTo>
                  <a:lnTo>
                    <a:pt x="0" y="0"/>
                  </a:lnTo>
                  <a:lnTo>
                    <a:pt x="0"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9" name="Graphic 4">
              <a:extLst>
                <a:ext uri="{FF2B5EF4-FFF2-40B4-BE49-F238E27FC236}">
                  <a16:creationId xmlns:a16="http://schemas.microsoft.com/office/drawing/2014/main" id="{87F7041B-5240-E118-BA3B-E325CB1105F4}"/>
                </a:ext>
              </a:extLst>
            </p:cNvPr>
            <p:cNvSpPr/>
            <p:nvPr/>
          </p:nvSpPr>
          <p:spPr>
            <a:xfrm>
              <a:off x="10324860"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6492 w 361670"/>
                <a:gd name="connsiteY5" fmla="*/ 215779 h 361333"/>
                <a:gd name="connsiteX6" fmla="*/ 290103 w 361670"/>
                <a:gd name="connsiteY6" fmla="*/ 222163 h 361333"/>
                <a:gd name="connsiteX7" fmla="*/ 263904 w 361670"/>
                <a:gd name="connsiteY7" fmla="*/ 222163 h 361333"/>
                <a:gd name="connsiteX8" fmla="*/ 261348 w 361670"/>
                <a:gd name="connsiteY8" fmla="*/ 221524 h 361333"/>
                <a:gd name="connsiteX9" fmla="*/ 261348 w 361670"/>
                <a:gd name="connsiteY9" fmla="*/ 250252 h 361333"/>
                <a:gd name="connsiteX10" fmla="*/ 254958 w 361670"/>
                <a:gd name="connsiteY10" fmla="*/ 256636 h 361333"/>
                <a:gd name="connsiteX11" fmla="*/ 72206 w 361670"/>
                <a:gd name="connsiteY11" fmla="*/ 256636 h 361333"/>
                <a:gd name="connsiteX12" fmla="*/ 65816 w 361670"/>
                <a:gd name="connsiteY12" fmla="*/ 250252 h 361333"/>
                <a:gd name="connsiteX13" fmla="*/ 65816 w 361670"/>
                <a:gd name="connsiteY13" fmla="*/ 146193 h 361333"/>
                <a:gd name="connsiteX14" fmla="*/ 72206 w 361670"/>
                <a:gd name="connsiteY14" fmla="*/ 139809 h 361333"/>
                <a:gd name="connsiteX15" fmla="*/ 100322 w 361670"/>
                <a:gd name="connsiteY15" fmla="*/ 139809 h 361333"/>
                <a:gd name="connsiteX16" fmla="*/ 100322 w 361670"/>
                <a:gd name="connsiteY16" fmla="*/ 111720 h 361333"/>
                <a:gd name="connsiteX17" fmla="*/ 106712 w 361670"/>
                <a:gd name="connsiteY17" fmla="*/ 105336 h 361333"/>
                <a:gd name="connsiteX18" fmla="*/ 289464 w 361670"/>
                <a:gd name="connsiteY18" fmla="*/ 105336 h 361333"/>
                <a:gd name="connsiteX19" fmla="*/ 295854 w 361670"/>
                <a:gd name="connsiteY19" fmla="*/ 111720 h 361333"/>
                <a:gd name="connsiteX20" fmla="*/ 295854 w 361670"/>
                <a:gd name="connsiteY20" fmla="*/ 21577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96492" y="215779"/>
                  </a:moveTo>
                  <a:cubicBezTo>
                    <a:pt x="296492" y="219609"/>
                    <a:pt x="293937" y="222163"/>
                    <a:pt x="290103" y="222163"/>
                  </a:cubicBezTo>
                  <a:lnTo>
                    <a:pt x="263904" y="222163"/>
                  </a:lnTo>
                  <a:cubicBezTo>
                    <a:pt x="263265" y="222163"/>
                    <a:pt x="262626" y="222163"/>
                    <a:pt x="261348" y="221524"/>
                  </a:cubicBezTo>
                  <a:lnTo>
                    <a:pt x="261348" y="250252"/>
                  </a:lnTo>
                  <a:cubicBezTo>
                    <a:pt x="261348" y="254082"/>
                    <a:pt x="258792" y="256636"/>
                    <a:pt x="254958" y="256636"/>
                  </a:cubicBezTo>
                  <a:lnTo>
                    <a:pt x="72206" y="256636"/>
                  </a:lnTo>
                  <a:cubicBezTo>
                    <a:pt x="68372" y="256636"/>
                    <a:pt x="65816" y="254082"/>
                    <a:pt x="65816" y="250252"/>
                  </a:cubicBezTo>
                  <a:lnTo>
                    <a:pt x="65816" y="146193"/>
                  </a:lnTo>
                  <a:cubicBezTo>
                    <a:pt x="65816" y="142363"/>
                    <a:pt x="68372" y="139809"/>
                    <a:pt x="72206" y="139809"/>
                  </a:cubicBezTo>
                  <a:lnTo>
                    <a:pt x="100322" y="139809"/>
                  </a:lnTo>
                  <a:lnTo>
                    <a:pt x="100322" y="111720"/>
                  </a:lnTo>
                  <a:cubicBezTo>
                    <a:pt x="100322" y="107889"/>
                    <a:pt x="102878" y="105336"/>
                    <a:pt x="106712" y="105336"/>
                  </a:cubicBezTo>
                  <a:lnTo>
                    <a:pt x="289464" y="105336"/>
                  </a:lnTo>
                  <a:cubicBezTo>
                    <a:pt x="293298" y="105336"/>
                    <a:pt x="295854" y="107889"/>
                    <a:pt x="295854" y="111720"/>
                  </a:cubicBezTo>
                  <a:lnTo>
                    <a:pt x="295854" y="21577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cxnSp>
        <p:nvCxnSpPr>
          <p:cNvPr id="70" name="Connector: Elbow 69">
            <a:extLst>
              <a:ext uri="{FF2B5EF4-FFF2-40B4-BE49-F238E27FC236}">
                <a16:creationId xmlns:a16="http://schemas.microsoft.com/office/drawing/2014/main" id="{4D42333B-65E3-86DC-C938-43CB2763F562}"/>
              </a:ext>
            </a:extLst>
          </p:cNvPr>
          <p:cNvCxnSpPr/>
          <p:nvPr/>
        </p:nvCxnSpPr>
        <p:spPr>
          <a:xfrm rot="16200000" flipV="1">
            <a:off x="855767" y="4738984"/>
            <a:ext cx="1033746" cy="731286"/>
          </a:xfrm>
          <a:prstGeom prst="bentConnector3">
            <a:avLst>
              <a:gd name="adj1" fmla="val 734"/>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71" name="Graphic 4">
            <a:extLst>
              <a:ext uri="{FF2B5EF4-FFF2-40B4-BE49-F238E27FC236}">
                <a16:creationId xmlns:a16="http://schemas.microsoft.com/office/drawing/2014/main" id="{5F29142C-0FD1-4560-2BB3-07489E2375A3}"/>
              </a:ext>
            </a:extLst>
          </p:cNvPr>
          <p:cNvGrpSpPr/>
          <p:nvPr/>
        </p:nvGrpSpPr>
        <p:grpSpPr>
          <a:xfrm>
            <a:off x="575824" y="4914844"/>
            <a:ext cx="388310" cy="446646"/>
            <a:chOff x="10324860" y="1402085"/>
            <a:chExt cx="361670" cy="361333"/>
          </a:xfrm>
          <a:solidFill>
            <a:schemeClr val="accent4"/>
          </a:solidFill>
        </p:grpSpPr>
        <p:sp>
          <p:nvSpPr>
            <p:cNvPr id="72" name="Graphic 4">
              <a:extLst>
                <a:ext uri="{FF2B5EF4-FFF2-40B4-BE49-F238E27FC236}">
                  <a16:creationId xmlns:a16="http://schemas.microsoft.com/office/drawing/2014/main" id="{2EF5003E-5364-7C17-58CA-10BD155C753E}"/>
                </a:ext>
              </a:extLst>
            </p:cNvPr>
            <p:cNvSpPr/>
            <p:nvPr/>
          </p:nvSpPr>
          <p:spPr>
            <a:xfrm>
              <a:off x="10403456" y="1554662"/>
              <a:ext cx="169972" cy="91291"/>
            </a:xfrm>
            <a:custGeom>
              <a:avLst/>
              <a:gdLst>
                <a:gd name="connsiteX0" fmla="*/ 0 w 169972"/>
                <a:gd name="connsiteY0" fmla="*/ 0 h 91291"/>
                <a:gd name="connsiteX1" fmla="*/ 0 w 169972"/>
                <a:gd name="connsiteY1" fmla="*/ 91291 h 91291"/>
                <a:gd name="connsiteX2" fmla="*/ 169972 w 169972"/>
                <a:gd name="connsiteY2" fmla="*/ 91291 h 91291"/>
                <a:gd name="connsiteX3" fmla="*/ 169972 w 169972"/>
                <a:gd name="connsiteY3" fmla="*/ 0 h 91291"/>
                <a:gd name="connsiteX4" fmla="*/ 0 w 169972"/>
                <a:gd name="connsiteY4" fmla="*/ 0 h 91291"/>
                <a:gd name="connsiteX5" fmla="*/ 84986 w 169972"/>
                <a:gd name="connsiteY5" fmla="*/ 51072 h 91291"/>
                <a:gd name="connsiteX6" fmla="*/ 68373 w 169972"/>
                <a:gd name="connsiteY6" fmla="*/ 34474 h 91291"/>
                <a:gd name="connsiteX7" fmla="*/ 80513 w 169972"/>
                <a:gd name="connsiteY7" fmla="*/ 18514 h 91291"/>
                <a:gd name="connsiteX8" fmla="*/ 80513 w 169972"/>
                <a:gd name="connsiteY8" fmla="*/ 14683 h 91291"/>
                <a:gd name="connsiteX9" fmla="*/ 85625 w 169972"/>
                <a:gd name="connsiteY9" fmla="*/ 9576 h 91291"/>
                <a:gd name="connsiteX10" fmla="*/ 90738 w 169972"/>
                <a:gd name="connsiteY10" fmla="*/ 14683 h 91291"/>
                <a:gd name="connsiteX11" fmla="*/ 90738 w 169972"/>
                <a:gd name="connsiteY11" fmla="*/ 18514 h 91291"/>
                <a:gd name="connsiteX12" fmla="*/ 102878 w 169972"/>
                <a:gd name="connsiteY12" fmla="*/ 34474 h 91291"/>
                <a:gd name="connsiteX13" fmla="*/ 97766 w 169972"/>
                <a:gd name="connsiteY13" fmla="*/ 39581 h 91291"/>
                <a:gd name="connsiteX14" fmla="*/ 92654 w 169972"/>
                <a:gd name="connsiteY14" fmla="*/ 34474 h 91291"/>
                <a:gd name="connsiteX15" fmla="*/ 85625 w 169972"/>
                <a:gd name="connsiteY15" fmla="*/ 27451 h 91291"/>
                <a:gd name="connsiteX16" fmla="*/ 78597 w 169972"/>
                <a:gd name="connsiteY16" fmla="*/ 34474 h 91291"/>
                <a:gd name="connsiteX17" fmla="*/ 85625 w 169972"/>
                <a:gd name="connsiteY17" fmla="*/ 41496 h 91291"/>
                <a:gd name="connsiteX18" fmla="*/ 102239 w 169972"/>
                <a:gd name="connsiteY18" fmla="*/ 58094 h 91291"/>
                <a:gd name="connsiteX19" fmla="*/ 90098 w 169972"/>
                <a:gd name="connsiteY19" fmla="*/ 74054 h 91291"/>
                <a:gd name="connsiteX20" fmla="*/ 90098 w 169972"/>
                <a:gd name="connsiteY20" fmla="*/ 77885 h 91291"/>
                <a:gd name="connsiteX21" fmla="*/ 84986 w 169972"/>
                <a:gd name="connsiteY21" fmla="*/ 82992 h 91291"/>
                <a:gd name="connsiteX22" fmla="*/ 79874 w 169972"/>
                <a:gd name="connsiteY22" fmla="*/ 77885 h 91291"/>
                <a:gd name="connsiteX23" fmla="*/ 79874 w 169972"/>
                <a:gd name="connsiteY23" fmla="*/ 74054 h 91291"/>
                <a:gd name="connsiteX24" fmla="*/ 67733 w 169972"/>
                <a:gd name="connsiteY24" fmla="*/ 58094 h 91291"/>
                <a:gd name="connsiteX25" fmla="*/ 72845 w 169972"/>
                <a:gd name="connsiteY25" fmla="*/ 52987 h 91291"/>
                <a:gd name="connsiteX26" fmla="*/ 77958 w 169972"/>
                <a:gd name="connsiteY26" fmla="*/ 58094 h 91291"/>
                <a:gd name="connsiteX27" fmla="*/ 84986 w 169972"/>
                <a:gd name="connsiteY27" fmla="*/ 65117 h 91291"/>
                <a:gd name="connsiteX28" fmla="*/ 92015 w 169972"/>
                <a:gd name="connsiteY28" fmla="*/ 58094 h 91291"/>
                <a:gd name="connsiteX29" fmla="*/ 84986 w 169972"/>
                <a:gd name="connsiteY29" fmla="*/ 51072 h 9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9972" h="91291">
                  <a:moveTo>
                    <a:pt x="0" y="0"/>
                  </a:moveTo>
                  <a:lnTo>
                    <a:pt x="0" y="91291"/>
                  </a:lnTo>
                  <a:lnTo>
                    <a:pt x="169972" y="91291"/>
                  </a:lnTo>
                  <a:lnTo>
                    <a:pt x="169972" y="0"/>
                  </a:lnTo>
                  <a:lnTo>
                    <a:pt x="0" y="0"/>
                  </a:lnTo>
                  <a:close/>
                  <a:moveTo>
                    <a:pt x="84986" y="51072"/>
                  </a:moveTo>
                  <a:cubicBezTo>
                    <a:pt x="76040" y="51072"/>
                    <a:pt x="68373" y="43411"/>
                    <a:pt x="68373" y="34474"/>
                  </a:cubicBezTo>
                  <a:cubicBezTo>
                    <a:pt x="68373" y="26813"/>
                    <a:pt x="73484" y="20429"/>
                    <a:pt x="80513" y="18514"/>
                  </a:cubicBezTo>
                  <a:lnTo>
                    <a:pt x="80513" y="14683"/>
                  </a:lnTo>
                  <a:cubicBezTo>
                    <a:pt x="80513" y="12130"/>
                    <a:pt x="82430" y="9576"/>
                    <a:pt x="85625" y="9576"/>
                  </a:cubicBezTo>
                  <a:cubicBezTo>
                    <a:pt x="88820" y="9576"/>
                    <a:pt x="90738" y="11491"/>
                    <a:pt x="90738" y="14683"/>
                  </a:cubicBezTo>
                  <a:lnTo>
                    <a:pt x="90738" y="18514"/>
                  </a:lnTo>
                  <a:cubicBezTo>
                    <a:pt x="97766" y="20429"/>
                    <a:pt x="102878" y="26813"/>
                    <a:pt x="102878" y="34474"/>
                  </a:cubicBezTo>
                  <a:cubicBezTo>
                    <a:pt x="102878" y="37027"/>
                    <a:pt x="100961" y="39581"/>
                    <a:pt x="97766" y="39581"/>
                  </a:cubicBezTo>
                  <a:cubicBezTo>
                    <a:pt x="94571" y="39581"/>
                    <a:pt x="92654" y="37666"/>
                    <a:pt x="92654" y="34474"/>
                  </a:cubicBezTo>
                  <a:cubicBezTo>
                    <a:pt x="92654" y="30643"/>
                    <a:pt x="89459" y="27451"/>
                    <a:pt x="85625" y="27451"/>
                  </a:cubicBezTo>
                  <a:cubicBezTo>
                    <a:pt x="81792" y="27451"/>
                    <a:pt x="78597" y="30643"/>
                    <a:pt x="78597" y="34474"/>
                  </a:cubicBezTo>
                  <a:cubicBezTo>
                    <a:pt x="78597" y="38304"/>
                    <a:pt x="81792" y="41496"/>
                    <a:pt x="85625" y="41496"/>
                  </a:cubicBezTo>
                  <a:cubicBezTo>
                    <a:pt x="95210" y="41496"/>
                    <a:pt x="102239" y="49157"/>
                    <a:pt x="102239" y="58094"/>
                  </a:cubicBezTo>
                  <a:cubicBezTo>
                    <a:pt x="102239" y="65755"/>
                    <a:pt x="97128" y="72139"/>
                    <a:pt x="90098" y="74054"/>
                  </a:cubicBezTo>
                  <a:lnTo>
                    <a:pt x="90098" y="77885"/>
                  </a:lnTo>
                  <a:cubicBezTo>
                    <a:pt x="90098" y="80438"/>
                    <a:pt x="88181" y="82992"/>
                    <a:pt x="84986" y="82992"/>
                  </a:cubicBezTo>
                  <a:cubicBezTo>
                    <a:pt x="81792" y="82992"/>
                    <a:pt x="79874" y="81077"/>
                    <a:pt x="79874" y="77885"/>
                  </a:cubicBezTo>
                  <a:lnTo>
                    <a:pt x="79874" y="74054"/>
                  </a:lnTo>
                  <a:cubicBezTo>
                    <a:pt x="72845" y="72139"/>
                    <a:pt x="67733" y="65755"/>
                    <a:pt x="67733" y="58094"/>
                  </a:cubicBezTo>
                  <a:cubicBezTo>
                    <a:pt x="67733" y="55541"/>
                    <a:pt x="69650" y="52987"/>
                    <a:pt x="72845" y="52987"/>
                  </a:cubicBezTo>
                  <a:cubicBezTo>
                    <a:pt x="76040" y="52987"/>
                    <a:pt x="77958" y="54902"/>
                    <a:pt x="77958" y="58094"/>
                  </a:cubicBezTo>
                  <a:cubicBezTo>
                    <a:pt x="77958" y="61925"/>
                    <a:pt x="81153" y="65117"/>
                    <a:pt x="84986" y="65117"/>
                  </a:cubicBezTo>
                  <a:cubicBezTo>
                    <a:pt x="88820" y="65117"/>
                    <a:pt x="92015" y="61925"/>
                    <a:pt x="92015" y="58094"/>
                  </a:cubicBezTo>
                  <a:cubicBezTo>
                    <a:pt x="92654" y="54264"/>
                    <a:pt x="88820" y="51072"/>
                    <a:pt x="84986" y="5107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3" name="Graphic 4">
              <a:extLst>
                <a:ext uri="{FF2B5EF4-FFF2-40B4-BE49-F238E27FC236}">
                  <a16:creationId xmlns:a16="http://schemas.microsoft.com/office/drawing/2014/main" id="{57FF2B13-AB7B-8025-547F-67CDD7318FB5}"/>
                </a:ext>
              </a:extLst>
            </p:cNvPr>
            <p:cNvSpPr/>
            <p:nvPr/>
          </p:nvSpPr>
          <p:spPr>
            <a:xfrm>
              <a:off x="10438601" y="1520188"/>
              <a:ext cx="169972" cy="91929"/>
            </a:xfrm>
            <a:custGeom>
              <a:avLst/>
              <a:gdLst>
                <a:gd name="connsiteX0" fmla="*/ 0 w 169972"/>
                <a:gd name="connsiteY0" fmla="*/ 21706 h 91929"/>
                <a:gd name="connsiteX1" fmla="*/ 141217 w 169972"/>
                <a:gd name="connsiteY1" fmla="*/ 21706 h 91929"/>
                <a:gd name="connsiteX2" fmla="*/ 147607 w 169972"/>
                <a:gd name="connsiteY2" fmla="*/ 28089 h 91929"/>
                <a:gd name="connsiteX3" fmla="*/ 147607 w 169972"/>
                <a:gd name="connsiteY3" fmla="*/ 91929 h 91929"/>
                <a:gd name="connsiteX4" fmla="*/ 150164 w 169972"/>
                <a:gd name="connsiteY4" fmla="*/ 91291 h 91929"/>
                <a:gd name="connsiteX5" fmla="*/ 169972 w 169972"/>
                <a:gd name="connsiteY5" fmla="*/ 91291 h 91929"/>
                <a:gd name="connsiteX6" fmla="*/ 169972 w 169972"/>
                <a:gd name="connsiteY6" fmla="*/ 0 h 91929"/>
                <a:gd name="connsiteX7" fmla="*/ 0 w 169972"/>
                <a:gd name="connsiteY7" fmla="*/ 0 h 91929"/>
                <a:gd name="connsiteX8" fmla="*/ 0 w 169972"/>
                <a:gd name="connsiteY8" fmla="*/ 21706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72" h="91929">
                  <a:moveTo>
                    <a:pt x="0" y="21706"/>
                  </a:moveTo>
                  <a:lnTo>
                    <a:pt x="141217" y="21706"/>
                  </a:lnTo>
                  <a:cubicBezTo>
                    <a:pt x="145052" y="21706"/>
                    <a:pt x="147607" y="24259"/>
                    <a:pt x="147607" y="28089"/>
                  </a:cubicBezTo>
                  <a:lnTo>
                    <a:pt x="147607" y="91929"/>
                  </a:lnTo>
                  <a:cubicBezTo>
                    <a:pt x="148247" y="91929"/>
                    <a:pt x="148886" y="91291"/>
                    <a:pt x="150164" y="91291"/>
                  </a:cubicBezTo>
                  <a:lnTo>
                    <a:pt x="169972" y="91291"/>
                  </a:lnTo>
                  <a:lnTo>
                    <a:pt x="169972" y="0"/>
                  </a:lnTo>
                  <a:lnTo>
                    <a:pt x="0" y="0"/>
                  </a:lnTo>
                  <a:lnTo>
                    <a:pt x="0"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4" name="Graphic 4">
              <a:extLst>
                <a:ext uri="{FF2B5EF4-FFF2-40B4-BE49-F238E27FC236}">
                  <a16:creationId xmlns:a16="http://schemas.microsoft.com/office/drawing/2014/main" id="{7ACF2367-B78B-5978-6449-E710F123A246}"/>
                </a:ext>
              </a:extLst>
            </p:cNvPr>
            <p:cNvSpPr/>
            <p:nvPr/>
          </p:nvSpPr>
          <p:spPr>
            <a:xfrm>
              <a:off x="10324860"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6492 w 361670"/>
                <a:gd name="connsiteY5" fmla="*/ 215779 h 361333"/>
                <a:gd name="connsiteX6" fmla="*/ 290103 w 361670"/>
                <a:gd name="connsiteY6" fmla="*/ 222163 h 361333"/>
                <a:gd name="connsiteX7" fmla="*/ 263904 w 361670"/>
                <a:gd name="connsiteY7" fmla="*/ 222163 h 361333"/>
                <a:gd name="connsiteX8" fmla="*/ 261348 w 361670"/>
                <a:gd name="connsiteY8" fmla="*/ 221524 h 361333"/>
                <a:gd name="connsiteX9" fmla="*/ 261348 w 361670"/>
                <a:gd name="connsiteY9" fmla="*/ 250252 h 361333"/>
                <a:gd name="connsiteX10" fmla="*/ 254958 w 361670"/>
                <a:gd name="connsiteY10" fmla="*/ 256636 h 361333"/>
                <a:gd name="connsiteX11" fmla="*/ 72206 w 361670"/>
                <a:gd name="connsiteY11" fmla="*/ 256636 h 361333"/>
                <a:gd name="connsiteX12" fmla="*/ 65816 w 361670"/>
                <a:gd name="connsiteY12" fmla="*/ 250252 h 361333"/>
                <a:gd name="connsiteX13" fmla="*/ 65816 w 361670"/>
                <a:gd name="connsiteY13" fmla="*/ 146193 h 361333"/>
                <a:gd name="connsiteX14" fmla="*/ 72206 w 361670"/>
                <a:gd name="connsiteY14" fmla="*/ 139809 h 361333"/>
                <a:gd name="connsiteX15" fmla="*/ 100322 w 361670"/>
                <a:gd name="connsiteY15" fmla="*/ 139809 h 361333"/>
                <a:gd name="connsiteX16" fmla="*/ 100322 w 361670"/>
                <a:gd name="connsiteY16" fmla="*/ 111720 h 361333"/>
                <a:gd name="connsiteX17" fmla="*/ 106712 w 361670"/>
                <a:gd name="connsiteY17" fmla="*/ 105336 h 361333"/>
                <a:gd name="connsiteX18" fmla="*/ 289464 w 361670"/>
                <a:gd name="connsiteY18" fmla="*/ 105336 h 361333"/>
                <a:gd name="connsiteX19" fmla="*/ 295854 w 361670"/>
                <a:gd name="connsiteY19" fmla="*/ 111720 h 361333"/>
                <a:gd name="connsiteX20" fmla="*/ 295854 w 361670"/>
                <a:gd name="connsiteY20" fmla="*/ 21577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96492" y="215779"/>
                  </a:moveTo>
                  <a:cubicBezTo>
                    <a:pt x="296492" y="219609"/>
                    <a:pt x="293937" y="222163"/>
                    <a:pt x="290103" y="222163"/>
                  </a:cubicBezTo>
                  <a:lnTo>
                    <a:pt x="263904" y="222163"/>
                  </a:lnTo>
                  <a:cubicBezTo>
                    <a:pt x="263265" y="222163"/>
                    <a:pt x="262626" y="222163"/>
                    <a:pt x="261348" y="221524"/>
                  </a:cubicBezTo>
                  <a:lnTo>
                    <a:pt x="261348" y="250252"/>
                  </a:lnTo>
                  <a:cubicBezTo>
                    <a:pt x="261348" y="254082"/>
                    <a:pt x="258792" y="256636"/>
                    <a:pt x="254958" y="256636"/>
                  </a:cubicBezTo>
                  <a:lnTo>
                    <a:pt x="72206" y="256636"/>
                  </a:lnTo>
                  <a:cubicBezTo>
                    <a:pt x="68372" y="256636"/>
                    <a:pt x="65816" y="254082"/>
                    <a:pt x="65816" y="250252"/>
                  </a:cubicBezTo>
                  <a:lnTo>
                    <a:pt x="65816" y="146193"/>
                  </a:lnTo>
                  <a:cubicBezTo>
                    <a:pt x="65816" y="142363"/>
                    <a:pt x="68372" y="139809"/>
                    <a:pt x="72206" y="139809"/>
                  </a:cubicBezTo>
                  <a:lnTo>
                    <a:pt x="100322" y="139809"/>
                  </a:lnTo>
                  <a:lnTo>
                    <a:pt x="100322" y="111720"/>
                  </a:lnTo>
                  <a:cubicBezTo>
                    <a:pt x="100322" y="107889"/>
                    <a:pt x="102878" y="105336"/>
                    <a:pt x="106712" y="105336"/>
                  </a:cubicBezTo>
                  <a:lnTo>
                    <a:pt x="289464" y="105336"/>
                  </a:lnTo>
                  <a:cubicBezTo>
                    <a:pt x="293298" y="105336"/>
                    <a:pt x="295854" y="107889"/>
                    <a:pt x="295854" y="111720"/>
                  </a:cubicBezTo>
                  <a:lnTo>
                    <a:pt x="295854" y="21577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Tree>
    <p:custDataLst>
      <p:custData r:id="rId1"/>
      <p:custData r:id="rId2"/>
      <p:tags r:id="rId3"/>
    </p:custDataLst>
    <p:extLst>
      <p:ext uri="{BB962C8B-B14F-4D97-AF65-F5344CB8AC3E}">
        <p14:creationId xmlns:p14="http://schemas.microsoft.com/office/powerpoint/2010/main" val="310705222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C777E3-49EC-D8D2-08F1-0FF7525DF862}"/>
              </a:ext>
            </a:extLst>
          </p:cNvPr>
          <p:cNvSpPr txBox="1">
            <a:spLocks/>
          </p:cNvSpPr>
          <p:nvPr/>
        </p:nvSpPr>
        <p:spPr>
          <a:xfrm>
            <a:off x="6101856" y="1688010"/>
            <a:ext cx="5759406" cy="4693003"/>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lnSpc>
                <a:spcPct val="115000"/>
              </a:lnSpc>
              <a:buFont typeface="Arial" panose="020B0604020202020204" pitchFamily="34" charset="0"/>
              <a:buChar char="•"/>
            </a:pPr>
            <a:r>
              <a:rPr lang="el-GR" sz="1400" b="1" dirty="0">
                <a:solidFill>
                  <a:schemeClr val="accent2"/>
                </a:solidFill>
                <a:latin typeface="Calibri" panose="020F0502020204030204" pitchFamily="34" charset="0"/>
                <a:cs typeface="Calibri" panose="020F0502020204030204" pitchFamily="34" charset="0"/>
              </a:rPr>
              <a:t>Ο Πωλητής</a:t>
            </a:r>
            <a:r>
              <a:rPr lang="el-GR" sz="1400" dirty="0">
                <a:latin typeface="Calibri" panose="020F0502020204030204" pitchFamily="34" charset="0"/>
                <a:cs typeface="Calibri" panose="020F0502020204030204" pitchFamily="34" charset="0"/>
              </a:rPr>
              <a:t> (παραγωγός) πουλάει/παραδίδει ενέργεια </a:t>
            </a:r>
            <a:r>
              <a:rPr lang="el-GR" sz="1400" b="1" dirty="0">
                <a:solidFill>
                  <a:schemeClr val="accent2"/>
                </a:solidFill>
                <a:latin typeface="Calibri" panose="020F0502020204030204" pitchFamily="34" charset="0"/>
                <a:cs typeface="Calibri" panose="020F0502020204030204" pitchFamily="34" charset="0"/>
              </a:rPr>
              <a:t>στον Αγοραστή </a:t>
            </a:r>
            <a:r>
              <a:rPr lang="el-GR" sz="1400" dirty="0">
                <a:latin typeface="Calibri" panose="020F0502020204030204" pitchFamily="34" charset="0"/>
                <a:cs typeface="Calibri" panose="020F0502020204030204" pitchFamily="34" charset="0"/>
              </a:rPr>
              <a:t>(παραγωγός/προμηθευτή, καταναλωτή κλπ.) </a:t>
            </a:r>
            <a:r>
              <a:rPr lang="el-GR" sz="2400" b="1" dirty="0">
                <a:solidFill>
                  <a:srgbClr val="00A3E0"/>
                </a:solidFill>
                <a:latin typeface="Calibri" panose="020F0502020204030204" pitchFamily="34" charset="0"/>
                <a:cs typeface="Calibri" panose="020F0502020204030204" pitchFamily="34" charset="0"/>
              </a:rPr>
              <a:t>χωρίς φυσική μεταβίβαση της κυριότητας.</a:t>
            </a:r>
          </a:p>
          <a:p>
            <a:pPr marL="171450" indent="-171450">
              <a:lnSpc>
                <a:spcPct val="115000"/>
              </a:lnSpc>
              <a:buFont typeface="Arial" panose="020B0604020202020204" pitchFamily="34" charset="0"/>
              <a:buChar char="•"/>
            </a:pPr>
            <a:r>
              <a:rPr lang="el-GR" sz="1400" dirty="0">
                <a:latin typeface="Calibri" panose="020F0502020204030204" pitchFamily="34" charset="0"/>
                <a:cs typeface="Calibri" panose="020F0502020204030204" pitchFamily="34" charset="0"/>
              </a:rPr>
              <a:t>Τα μέρη συμφωνούν </a:t>
            </a:r>
            <a:r>
              <a:rPr lang="el-GR" sz="1400" b="1" dirty="0">
                <a:latin typeface="Calibri" panose="020F0502020204030204" pitchFamily="34" charset="0"/>
                <a:cs typeface="Calibri" panose="020F0502020204030204" pitchFamily="34" charset="0"/>
              </a:rPr>
              <a:t>την τιμή συναλλαγής </a:t>
            </a:r>
            <a:r>
              <a:rPr lang="el-GR" sz="1400" dirty="0">
                <a:latin typeface="Calibri" panose="020F0502020204030204" pitchFamily="34" charset="0"/>
                <a:cs typeface="Calibri" panose="020F0502020204030204" pitchFamily="34" charset="0"/>
              </a:rPr>
              <a:t>με υποκείμενη αξία έναν δείκτη της αγοράς ηλεκτρικής ενέργειας (συνήθως τη μέση τιμή των ωραίων Τιμών Εκκαθάρισης του ΕΧΕ μίας συγκεκριμένης περιόδου)</a:t>
            </a:r>
            <a:endParaRPr lang="el-GR" sz="1400" b="1" dirty="0">
              <a:latin typeface="Calibri" panose="020F0502020204030204" pitchFamily="34" charset="0"/>
              <a:cs typeface="Calibri" panose="020F0502020204030204" pitchFamily="34" charset="0"/>
            </a:endParaRPr>
          </a:p>
          <a:p>
            <a:pPr marL="171450" indent="-171450">
              <a:lnSpc>
                <a:spcPct val="115000"/>
              </a:lnSpc>
              <a:buFont typeface="Arial" panose="020B0604020202020204" pitchFamily="34" charset="0"/>
              <a:buChar char="•"/>
            </a:pPr>
            <a:r>
              <a:rPr lang="el-GR" sz="1400" dirty="0">
                <a:latin typeface="Calibri" panose="020F0502020204030204" pitchFamily="34" charset="0"/>
                <a:cs typeface="Calibri" panose="020F0502020204030204" pitchFamily="34" charset="0"/>
              </a:rPr>
              <a:t>Η τυχόν </a:t>
            </a:r>
            <a:r>
              <a:rPr lang="el-GR" sz="1400" b="1" dirty="0">
                <a:latin typeface="Calibri" panose="020F0502020204030204" pitchFamily="34" charset="0"/>
                <a:cs typeface="Calibri" panose="020F0502020204030204" pitchFamily="34" charset="0"/>
              </a:rPr>
              <a:t>διαφορά</a:t>
            </a:r>
            <a:r>
              <a:rPr lang="el-GR" sz="1400" dirty="0">
                <a:latin typeface="Calibri" panose="020F0502020204030204" pitchFamily="34" charset="0"/>
                <a:cs typeface="Calibri" panose="020F0502020204030204" pitchFamily="34" charset="0"/>
              </a:rPr>
              <a:t> που προκύπτει μεταξύ της τιμής που έχει συμφωνηθεί στο </a:t>
            </a:r>
            <a:r>
              <a:rPr lang="en-US" sz="1400" dirty="0">
                <a:latin typeface="Calibri" panose="020F0502020204030204" pitchFamily="34" charset="0"/>
                <a:cs typeface="Calibri" panose="020F0502020204030204" pitchFamily="34" charset="0"/>
              </a:rPr>
              <a:t>PPA </a:t>
            </a:r>
            <a:r>
              <a:rPr lang="el-GR" sz="1400" dirty="0">
                <a:latin typeface="Calibri" panose="020F0502020204030204" pitchFamily="34" charset="0"/>
                <a:cs typeface="Calibri" panose="020F0502020204030204" pitchFamily="34" charset="0"/>
              </a:rPr>
              <a:t>και της Τιμής Εκκαθάρισης της αγοράς στο ΕΧΕ </a:t>
            </a:r>
            <a:r>
              <a:rPr lang="el-GR" sz="1400" b="1" dirty="0">
                <a:latin typeface="Calibri" panose="020F0502020204030204" pitchFamily="34" charset="0"/>
                <a:cs typeface="Calibri" panose="020F0502020204030204" pitchFamily="34" charset="0"/>
              </a:rPr>
              <a:t>χρεοπιστώνεται μεταξύ των μερών </a:t>
            </a:r>
            <a:r>
              <a:rPr lang="el-GR" sz="1400" dirty="0">
                <a:latin typeface="Calibri" panose="020F0502020204030204" pitchFamily="34" charset="0"/>
                <a:cs typeface="Calibri" panose="020F0502020204030204" pitchFamily="34" charset="0"/>
              </a:rPr>
              <a:t>βάσει της μεταξύ τους σύμβασης.</a:t>
            </a:r>
          </a:p>
          <a:p>
            <a:pPr marL="171450" indent="-171450">
              <a:lnSpc>
                <a:spcPct val="115000"/>
              </a:lnSpc>
              <a:buFont typeface="Arial" panose="020B0604020202020204" pitchFamily="34" charset="0"/>
              <a:buChar char="•"/>
            </a:pPr>
            <a:r>
              <a:rPr lang="el-GR" sz="1400" b="1" dirty="0">
                <a:solidFill>
                  <a:schemeClr val="accent2"/>
                </a:solidFill>
                <a:latin typeface="Calibri" panose="020F0502020204030204" pitchFamily="34" charset="0"/>
                <a:cs typeface="Calibri" panose="020F0502020204030204" pitchFamily="34" charset="0"/>
              </a:rPr>
              <a:t>Ο Πωλητής </a:t>
            </a:r>
            <a:r>
              <a:rPr lang="el-GR" sz="1400" dirty="0">
                <a:latin typeface="Calibri" panose="020F0502020204030204" pitchFamily="34" charset="0"/>
                <a:cs typeface="Calibri" panose="020F0502020204030204" pitchFamily="34" charset="0"/>
              </a:rPr>
              <a:t>μεταβιβάζει τις Εγγυήσεις Προέλευσης ή Πιστοποιητικά Ανανεώσιμων Πηγών (</a:t>
            </a:r>
            <a:r>
              <a:rPr lang="el-GR" sz="1400" dirty="0" err="1">
                <a:latin typeface="Calibri" panose="020F0502020204030204" pitchFamily="34" charset="0"/>
                <a:cs typeface="Calibri" panose="020F0502020204030204" pitchFamily="34" charset="0"/>
              </a:rPr>
              <a:t>GoOs</a:t>
            </a:r>
            <a:r>
              <a:rPr lang="el-GR" sz="1400" dirty="0">
                <a:latin typeface="Calibri" panose="020F0502020204030204" pitchFamily="34" charset="0"/>
                <a:cs typeface="Calibri" panose="020F0502020204030204" pitchFamily="34" charset="0"/>
              </a:rPr>
              <a:t>/</a:t>
            </a:r>
            <a:r>
              <a:rPr lang="el-GR" sz="1400" dirty="0" err="1">
                <a:latin typeface="Calibri" panose="020F0502020204030204" pitchFamily="34" charset="0"/>
                <a:cs typeface="Calibri" panose="020F0502020204030204" pitchFamily="34" charset="0"/>
              </a:rPr>
              <a:t>RECs</a:t>
            </a:r>
            <a:r>
              <a:rPr lang="el-GR" sz="1400" dirty="0">
                <a:latin typeface="Calibri" panose="020F0502020204030204" pitchFamily="34" charset="0"/>
                <a:cs typeface="Calibri" panose="020F0502020204030204" pitchFamily="34" charset="0"/>
              </a:rPr>
              <a:t>).</a:t>
            </a:r>
          </a:p>
          <a:p>
            <a:pPr marL="171450" indent="-171450">
              <a:lnSpc>
                <a:spcPct val="115000"/>
              </a:lnSpc>
              <a:buFont typeface="Arial" panose="020B0604020202020204" pitchFamily="34" charset="0"/>
              <a:buChar char="•"/>
            </a:pPr>
            <a:r>
              <a:rPr lang="el-GR" sz="1400" b="1" dirty="0">
                <a:solidFill>
                  <a:schemeClr val="accent2"/>
                </a:solidFill>
                <a:latin typeface="Calibri" panose="020F0502020204030204" pitchFamily="34" charset="0"/>
                <a:cs typeface="Calibri" panose="020F0502020204030204" pitchFamily="34" charset="0"/>
              </a:rPr>
              <a:t>Βασική διαφορά με </a:t>
            </a:r>
            <a:r>
              <a:rPr lang="en-US" sz="1400" b="1" dirty="0">
                <a:solidFill>
                  <a:schemeClr val="accent2"/>
                </a:solidFill>
                <a:latin typeface="Calibri" panose="020F0502020204030204" pitchFamily="34" charset="0"/>
                <a:cs typeface="Calibri" panose="020F0502020204030204" pitchFamily="34" charset="0"/>
              </a:rPr>
              <a:t>physical PPA</a:t>
            </a:r>
            <a:r>
              <a:rPr lang="el-GR" sz="1400" dirty="0">
                <a:latin typeface="Calibri" panose="020F0502020204030204" pitchFamily="34" charset="0"/>
                <a:cs typeface="Calibri" panose="020F0502020204030204" pitchFamily="34" charset="0"/>
              </a:rPr>
              <a:t>:  Δεν γίνεται δήλωση από τα δύο μέρη για την ποσότητα που συμφωνήθηκε μεταξύ τους στο Ε</a:t>
            </a:r>
            <a:r>
              <a:rPr lang="en-US" sz="1400" dirty="0">
                <a:latin typeface="Calibri" panose="020F0502020204030204" pitchFamily="34" charset="0"/>
                <a:cs typeface="Calibri" panose="020F0502020204030204" pitchFamily="34" charset="0"/>
              </a:rPr>
              <a:t>XE</a:t>
            </a:r>
            <a:r>
              <a:rPr lang="el-GR" sz="1400" dirty="0">
                <a:latin typeface="Calibri" panose="020F0502020204030204" pitchFamily="34" charset="0"/>
                <a:cs typeface="Calibri" panose="020F0502020204030204" pitchFamily="34" charset="0"/>
              </a:rPr>
              <a:t>.</a:t>
            </a:r>
          </a:p>
          <a:p>
            <a:pPr marL="171450" indent="-171450">
              <a:lnSpc>
                <a:spcPct val="115000"/>
              </a:lnSpc>
              <a:buFont typeface="Arial" panose="020B0604020202020204" pitchFamily="34" charset="0"/>
              <a:buChar char="•"/>
            </a:pPr>
            <a:r>
              <a:rPr lang="el-GR" sz="1400" dirty="0">
                <a:latin typeface="Calibri" panose="020F0502020204030204" pitchFamily="34" charset="0"/>
                <a:cs typeface="Calibri" panose="020F0502020204030204" pitchFamily="34" charset="0"/>
              </a:rPr>
              <a:t>Ο Παραγωγός ΑΠΕ ανεξάρτητα από το διμερές </a:t>
            </a:r>
            <a:r>
              <a:rPr lang="el-GR" sz="1400" dirty="0" err="1">
                <a:latin typeface="Calibri" panose="020F0502020204030204" pitchFamily="34" charset="0"/>
                <a:cs typeface="Calibri" panose="020F0502020204030204" pitchFamily="34" charset="0"/>
              </a:rPr>
              <a:t>financial</a:t>
            </a:r>
            <a:r>
              <a:rPr lang="el-GR" sz="1400" dirty="0">
                <a:latin typeface="Calibri" panose="020F0502020204030204" pitchFamily="34" charset="0"/>
                <a:cs typeface="Calibri" panose="020F0502020204030204" pitchFamily="34" charset="0"/>
              </a:rPr>
              <a:t> PPA, συμμετέχει κανονικά (αυτόνομα ή μέσω ΦΟΣΕ) στο ΕΧΕ με όλη τη διαθέσιμη ισχύ του σταθμού και θα αποζημιωθεί για την </a:t>
            </a:r>
            <a:r>
              <a:rPr lang="el-GR" sz="1400" dirty="0" err="1">
                <a:latin typeface="Calibri" panose="020F0502020204030204" pitchFamily="34" charset="0"/>
                <a:cs typeface="Calibri" panose="020F0502020204030204" pitchFamily="34" charset="0"/>
              </a:rPr>
              <a:t>πωληθείσα</a:t>
            </a:r>
            <a:r>
              <a:rPr lang="el-GR" sz="1400" dirty="0">
                <a:latin typeface="Calibri" panose="020F0502020204030204" pitchFamily="34" charset="0"/>
                <a:cs typeface="Calibri" panose="020F0502020204030204" pitchFamily="34" charset="0"/>
              </a:rPr>
              <a:t> στο Σύστημα.</a:t>
            </a:r>
          </a:p>
          <a:p>
            <a:pPr marL="342900" indent="-342900">
              <a:buSzPts val="850"/>
              <a:buFont typeface="Arial Black" panose="020B0A04020102020204" pitchFamily="34" charset="0"/>
              <a:buChar char="•"/>
            </a:pPr>
            <a:endParaRPr lang="en-US" sz="1400" dirty="0">
              <a:latin typeface="Calibri" panose="020F0502020204030204" pitchFamily="34" charset="0"/>
              <a:cs typeface="Calibri" panose="020F0502020204030204" pitchFamily="34" charset="0"/>
            </a:endParaRPr>
          </a:p>
          <a:p>
            <a:pPr marL="171450" indent="-171450">
              <a:lnSpc>
                <a:spcPct val="115000"/>
              </a:lnSpc>
              <a:buFont typeface="Arial" panose="020B0604020202020204" pitchFamily="34" charset="0"/>
              <a:buChar char="•"/>
            </a:pPr>
            <a:endParaRPr lang="el-GR" sz="1400" dirty="0">
              <a:latin typeface="Calibri" panose="020F0502020204030204" pitchFamily="34" charset="0"/>
              <a:ea typeface="Calibri Light" panose="020F0302020204030204" pitchFamily="34" charset="0"/>
              <a:cs typeface="Calibri" panose="020F0502020204030204" pitchFamily="34" charset="0"/>
            </a:endParaRPr>
          </a:p>
          <a:p>
            <a:pPr>
              <a:spcAft>
                <a:spcPts val="600"/>
              </a:spcAft>
            </a:pPr>
            <a:endParaRPr lang="en-US" sz="1200" dirty="0">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28AFE5BB-038C-C00E-2D5B-386E95D85EFA}"/>
              </a:ext>
            </a:extLst>
          </p:cNvPr>
          <p:cNvSpPr txBox="1">
            <a:spLocks/>
          </p:cNvSpPr>
          <p:nvPr/>
        </p:nvSpPr>
        <p:spPr>
          <a:xfrm>
            <a:off x="469903" y="736701"/>
            <a:ext cx="11252200" cy="75725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1219170"/>
            <a:r>
              <a:rPr lang="el-GR" sz="1800">
                <a:latin typeface="Calibri" panose="020F0502020204030204" pitchFamily="34" charset="0"/>
                <a:cs typeface="Calibri" panose="020F0502020204030204" pitchFamily="34" charset="0"/>
              </a:rPr>
              <a:t>Διμερής συμβάσεις πώλησης με εικονικό/οικονομικό διακανονισμό (</a:t>
            </a:r>
            <a:r>
              <a:rPr lang="en-US" sz="1800">
                <a:latin typeface="Calibri" panose="020F0502020204030204" pitchFamily="34" charset="0"/>
                <a:cs typeface="Calibri" panose="020F0502020204030204" pitchFamily="34" charset="0"/>
              </a:rPr>
              <a:t>“virtual/financial PPA’s”)</a:t>
            </a:r>
            <a:endParaRPr lang="en-US" sz="1800" dirty="0">
              <a:latin typeface="Calibri" panose="020F0502020204030204" pitchFamily="34" charset="0"/>
              <a:cs typeface="Calibri" panose="020F0502020204030204" pitchFamily="34" charset="0"/>
            </a:endParaRPr>
          </a:p>
        </p:txBody>
      </p:sp>
      <p:sp>
        <p:nvSpPr>
          <p:cNvPr id="5" name="Title 4">
            <a:extLst>
              <a:ext uri="{FF2B5EF4-FFF2-40B4-BE49-F238E27FC236}">
                <a16:creationId xmlns:a16="http://schemas.microsoft.com/office/drawing/2014/main" id="{04B3A00C-C27E-6C96-A01E-8FF4FA8401A3}"/>
              </a:ext>
            </a:extLst>
          </p:cNvPr>
          <p:cNvSpPr txBox="1">
            <a:spLocks/>
          </p:cNvSpPr>
          <p:nvPr/>
        </p:nvSpPr>
        <p:spPr>
          <a:xfrm>
            <a:off x="469903" y="402598"/>
            <a:ext cx="11252200"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l-GR" sz="2000" dirty="0">
                <a:latin typeface="Calibri" panose="020F0502020204030204" pitchFamily="34" charset="0"/>
                <a:cs typeface="Calibri" panose="020F0502020204030204" pitchFamily="34" charset="0"/>
              </a:rPr>
              <a:t>Διμερής συμφωνίες πώλησης ενέργειας (</a:t>
            </a:r>
            <a:r>
              <a:rPr lang="en-US" sz="2000" dirty="0">
                <a:latin typeface="Calibri" panose="020F0502020204030204" pitchFamily="34" charset="0"/>
                <a:cs typeface="Calibri" panose="020F0502020204030204" pitchFamily="34" charset="0"/>
              </a:rPr>
              <a:t>Corporate PPA’s)</a:t>
            </a:r>
          </a:p>
        </p:txBody>
      </p:sp>
      <p:sp>
        <p:nvSpPr>
          <p:cNvPr id="6" name="Textbox 38">
            <a:extLst>
              <a:ext uri="{FF2B5EF4-FFF2-40B4-BE49-F238E27FC236}">
                <a16:creationId xmlns:a16="http://schemas.microsoft.com/office/drawing/2014/main" id="{D403894C-7F05-4A56-4CF8-D00FD5834439}"/>
              </a:ext>
            </a:extLst>
          </p:cNvPr>
          <p:cNvSpPr txBox="1"/>
          <p:nvPr/>
        </p:nvSpPr>
        <p:spPr>
          <a:xfrm>
            <a:off x="3489484" y="458005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Αγοραστής</a:t>
            </a:r>
            <a:endPar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pic>
        <p:nvPicPr>
          <p:cNvPr id="7" name="Picture 6" descr="A diagram of a wind turbine&#10;&#10;Description automatically generated">
            <a:extLst>
              <a:ext uri="{FF2B5EF4-FFF2-40B4-BE49-F238E27FC236}">
                <a16:creationId xmlns:a16="http://schemas.microsoft.com/office/drawing/2014/main" id="{5DB1C9F9-6923-1EC4-1BF5-7E4A3D31F819}"/>
              </a:ext>
            </a:extLst>
          </p:cNvPr>
          <p:cNvPicPr>
            <a:picLocks noChangeAspect="1"/>
          </p:cNvPicPr>
          <p:nvPr/>
        </p:nvPicPr>
        <p:blipFill rotWithShape="1">
          <a:blip r:embed="rId6">
            <a:extLst>
              <a:ext uri="{28A0092B-C50C-407E-A947-70E740481C1C}">
                <a14:useLocalDpi xmlns:a14="http://schemas.microsoft.com/office/drawing/2010/main" val="0"/>
              </a:ext>
            </a:extLst>
          </a:blip>
          <a:srcRect l="19959" t="19500" r="18367" b="15682"/>
          <a:stretch/>
        </p:blipFill>
        <p:spPr>
          <a:xfrm>
            <a:off x="330738" y="2830540"/>
            <a:ext cx="1649201" cy="1827728"/>
          </a:xfrm>
          <a:prstGeom prst="rect">
            <a:avLst/>
          </a:prstGeom>
        </p:spPr>
      </p:pic>
      <p:pic>
        <p:nvPicPr>
          <p:cNvPr id="8" name="Picture 7" descr="A green and grey building with smoke coming out of it&#10;&#10;Description automatically generated">
            <a:extLst>
              <a:ext uri="{FF2B5EF4-FFF2-40B4-BE49-F238E27FC236}">
                <a16:creationId xmlns:a16="http://schemas.microsoft.com/office/drawing/2014/main" id="{0D27CD6F-02EC-3A32-5461-27831D072F0B}"/>
              </a:ext>
            </a:extLst>
          </p:cNvPr>
          <p:cNvPicPr>
            <a:picLocks noChangeAspect="1"/>
          </p:cNvPicPr>
          <p:nvPr/>
        </p:nvPicPr>
        <p:blipFill rotWithShape="1">
          <a:blip r:embed="rId7">
            <a:extLst>
              <a:ext uri="{28A0092B-C50C-407E-A947-70E740481C1C}">
                <a14:useLocalDpi xmlns:a14="http://schemas.microsoft.com/office/drawing/2010/main" val="0"/>
              </a:ext>
            </a:extLst>
          </a:blip>
          <a:srcRect b="14699"/>
          <a:stretch/>
        </p:blipFill>
        <p:spPr>
          <a:xfrm>
            <a:off x="4281465" y="2812192"/>
            <a:ext cx="1733135" cy="1827728"/>
          </a:xfrm>
          <a:prstGeom prst="rect">
            <a:avLst/>
          </a:prstGeom>
        </p:spPr>
      </p:pic>
      <p:sp>
        <p:nvSpPr>
          <p:cNvPr id="9" name="Textbox 38">
            <a:extLst>
              <a:ext uri="{FF2B5EF4-FFF2-40B4-BE49-F238E27FC236}">
                <a16:creationId xmlns:a16="http://schemas.microsoft.com/office/drawing/2014/main" id="{A008CAF4-C167-6DC4-C2AA-D41B0A23FF72}"/>
              </a:ext>
            </a:extLst>
          </p:cNvPr>
          <p:cNvSpPr txBox="1"/>
          <p:nvPr/>
        </p:nvSpPr>
        <p:spPr>
          <a:xfrm>
            <a:off x="1911074" y="259086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10" name="Textbox 38">
            <a:extLst>
              <a:ext uri="{FF2B5EF4-FFF2-40B4-BE49-F238E27FC236}">
                <a16:creationId xmlns:a16="http://schemas.microsoft.com/office/drawing/2014/main" id="{2EC3DEE4-154A-673F-DDC7-119F5A2D2872}"/>
              </a:ext>
            </a:extLst>
          </p:cNvPr>
          <p:cNvSpPr txBox="1"/>
          <p:nvPr/>
        </p:nvSpPr>
        <p:spPr>
          <a:xfrm>
            <a:off x="1911073" y="2535645"/>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11" name="Textbox 38">
            <a:extLst>
              <a:ext uri="{FF2B5EF4-FFF2-40B4-BE49-F238E27FC236}">
                <a16:creationId xmlns:a16="http://schemas.microsoft.com/office/drawing/2014/main" id="{D542228D-954A-63AB-2A89-8ACC7282E473}"/>
              </a:ext>
            </a:extLst>
          </p:cNvPr>
          <p:cNvSpPr txBox="1"/>
          <p:nvPr/>
        </p:nvSpPr>
        <p:spPr>
          <a:xfrm>
            <a:off x="487069" y="458775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Πωλητής</a:t>
            </a:r>
            <a:endPar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grpSp>
        <p:nvGrpSpPr>
          <p:cNvPr id="12" name="Graphic 4">
            <a:extLst>
              <a:ext uri="{FF2B5EF4-FFF2-40B4-BE49-F238E27FC236}">
                <a16:creationId xmlns:a16="http://schemas.microsoft.com/office/drawing/2014/main" id="{D3BEE1B4-E56E-99E4-A945-E2F2A5E5B7DF}"/>
              </a:ext>
            </a:extLst>
          </p:cNvPr>
          <p:cNvGrpSpPr>
            <a:grpSpLocks noChangeAspect="1"/>
          </p:cNvGrpSpPr>
          <p:nvPr/>
        </p:nvGrpSpPr>
        <p:grpSpPr>
          <a:xfrm>
            <a:off x="2945183" y="3200567"/>
            <a:ext cx="484055" cy="552491"/>
            <a:chOff x="1017917" y="2938071"/>
            <a:chExt cx="136744" cy="195988"/>
          </a:xfrm>
          <a:solidFill>
            <a:srgbClr val="26890D"/>
          </a:solidFill>
        </p:grpSpPr>
        <p:sp>
          <p:nvSpPr>
            <p:cNvPr id="13" name="Graphic 4">
              <a:extLst>
                <a:ext uri="{FF2B5EF4-FFF2-40B4-BE49-F238E27FC236}">
                  <a16:creationId xmlns:a16="http://schemas.microsoft.com/office/drawing/2014/main" id="{55F49A48-7CB7-2427-B5B5-E9E7AC17860A}"/>
                </a:ext>
              </a:extLst>
            </p:cNvPr>
            <p:cNvSpPr/>
            <p:nvPr/>
          </p:nvSpPr>
          <p:spPr>
            <a:xfrm>
              <a:off x="1017917" y="2938071"/>
              <a:ext cx="136744" cy="195988"/>
            </a:xfrm>
            <a:custGeom>
              <a:avLst/>
              <a:gdLst>
                <a:gd name="connsiteX0" fmla="*/ 23643 w 136744"/>
                <a:gd name="connsiteY0" fmla="*/ 84268 h 195988"/>
                <a:gd name="connsiteX1" fmla="*/ 113102 w 136744"/>
                <a:gd name="connsiteY1" fmla="*/ 84268 h 195988"/>
                <a:gd name="connsiteX2" fmla="*/ 119492 w 136744"/>
                <a:gd name="connsiteY2" fmla="*/ 90652 h 195988"/>
                <a:gd name="connsiteX3" fmla="*/ 113102 w 136744"/>
                <a:gd name="connsiteY3" fmla="*/ 97036 h 195988"/>
                <a:gd name="connsiteX4" fmla="*/ 23643 w 136744"/>
                <a:gd name="connsiteY4" fmla="*/ 97036 h 195988"/>
                <a:gd name="connsiteX5" fmla="*/ 17253 w 136744"/>
                <a:gd name="connsiteY5" fmla="*/ 90652 h 195988"/>
                <a:gd name="connsiteX6" fmla="*/ 23643 w 136744"/>
                <a:gd name="connsiteY6" fmla="*/ 84268 h 195988"/>
                <a:gd name="connsiteX7" fmla="*/ 23643 w 136744"/>
                <a:gd name="connsiteY7" fmla="*/ 54902 h 195988"/>
                <a:gd name="connsiteX8" fmla="*/ 113102 w 136744"/>
                <a:gd name="connsiteY8" fmla="*/ 54902 h 195988"/>
                <a:gd name="connsiteX9" fmla="*/ 119492 w 136744"/>
                <a:gd name="connsiteY9" fmla="*/ 61286 h 195988"/>
                <a:gd name="connsiteX10" fmla="*/ 113102 w 136744"/>
                <a:gd name="connsiteY10" fmla="*/ 67670 h 195988"/>
                <a:gd name="connsiteX11" fmla="*/ 23643 w 136744"/>
                <a:gd name="connsiteY11" fmla="*/ 67670 h 195988"/>
                <a:gd name="connsiteX12" fmla="*/ 17253 w 136744"/>
                <a:gd name="connsiteY12" fmla="*/ 61286 h 195988"/>
                <a:gd name="connsiteX13" fmla="*/ 23643 w 136744"/>
                <a:gd name="connsiteY13" fmla="*/ 54902 h 195988"/>
                <a:gd name="connsiteX14" fmla="*/ 23643 w 136744"/>
                <a:gd name="connsiteY14" fmla="*/ 24897 h 195988"/>
                <a:gd name="connsiteX15" fmla="*/ 113102 w 136744"/>
                <a:gd name="connsiteY15" fmla="*/ 24897 h 195988"/>
                <a:gd name="connsiteX16" fmla="*/ 119492 w 136744"/>
                <a:gd name="connsiteY16" fmla="*/ 31281 h 195988"/>
                <a:gd name="connsiteX17" fmla="*/ 113102 w 136744"/>
                <a:gd name="connsiteY17" fmla="*/ 37665 h 195988"/>
                <a:gd name="connsiteX18" fmla="*/ 23643 w 136744"/>
                <a:gd name="connsiteY18" fmla="*/ 37665 h 195988"/>
                <a:gd name="connsiteX19" fmla="*/ 17253 w 136744"/>
                <a:gd name="connsiteY19" fmla="*/ 31281 h 195988"/>
                <a:gd name="connsiteX20" fmla="*/ 23643 w 136744"/>
                <a:gd name="connsiteY20" fmla="*/ 24897 h 195988"/>
                <a:gd name="connsiteX21" fmla="*/ 96488 w 136744"/>
                <a:gd name="connsiteY21" fmla="*/ 151300 h 195988"/>
                <a:gd name="connsiteX22" fmla="*/ 97127 w 136744"/>
                <a:gd name="connsiteY22" fmla="*/ 159600 h 195988"/>
                <a:gd name="connsiteX23" fmla="*/ 91376 w 136744"/>
                <a:gd name="connsiteY23" fmla="*/ 165984 h 195988"/>
                <a:gd name="connsiteX24" fmla="*/ 90737 w 136744"/>
                <a:gd name="connsiteY24" fmla="*/ 166622 h 195988"/>
                <a:gd name="connsiteX25" fmla="*/ 90737 w 136744"/>
                <a:gd name="connsiteY25" fmla="*/ 167260 h 195988"/>
                <a:gd name="connsiteX26" fmla="*/ 86264 w 136744"/>
                <a:gd name="connsiteY26" fmla="*/ 174283 h 195988"/>
                <a:gd name="connsiteX27" fmla="*/ 77957 w 136744"/>
                <a:gd name="connsiteY27" fmla="*/ 176198 h 195988"/>
                <a:gd name="connsiteX28" fmla="*/ 77318 w 136744"/>
                <a:gd name="connsiteY28" fmla="*/ 176198 h 195988"/>
                <a:gd name="connsiteX29" fmla="*/ 76679 w 136744"/>
                <a:gd name="connsiteY29" fmla="*/ 176836 h 195988"/>
                <a:gd name="connsiteX30" fmla="*/ 61343 w 136744"/>
                <a:gd name="connsiteY30" fmla="*/ 177475 h 195988"/>
                <a:gd name="connsiteX31" fmla="*/ 60704 w 136744"/>
                <a:gd name="connsiteY31" fmla="*/ 176836 h 195988"/>
                <a:gd name="connsiteX32" fmla="*/ 60065 w 136744"/>
                <a:gd name="connsiteY32" fmla="*/ 176198 h 195988"/>
                <a:gd name="connsiteX33" fmla="*/ 59426 w 136744"/>
                <a:gd name="connsiteY33" fmla="*/ 176198 h 195988"/>
                <a:gd name="connsiteX34" fmla="*/ 46647 w 136744"/>
                <a:gd name="connsiteY34" fmla="*/ 167899 h 195988"/>
                <a:gd name="connsiteX35" fmla="*/ 46647 w 136744"/>
                <a:gd name="connsiteY35" fmla="*/ 166622 h 195988"/>
                <a:gd name="connsiteX36" fmla="*/ 46647 w 136744"/>
                <a:gd name="connsiteY36" fmla="*/ 165984 h 195988"/>
                <a:gd name="connsiteX37" fmla="*/ 46008 w 136744"/>
                <a:gd name="connsiteY37" fmla="*/ 165345 h 195988"/>
                <a:gd name="connsiteX38" fmla="*/ 40257 w 136744"/>
                <a:gd name="connsiteY38" fmla="*/ 158961 h 195988"/>
                <a:gd name="connsiteX39" fmla="*/ 40896 w 136744"/>
                <a:gd name="connsiteY39" fmla="*/ 150662 h 195988"/>
                <a:gd name="connsiteX40" fmla="*/ 41535 w 136744"/>
                <a:gd name="connsiteY40" fmla="*/ 149385 h 195988"/>
                <a:gd name="connsiteX41" fmla="*/ 40896 w 136744"/>
                <a:gd name="connsiteY41" fmla="*/ 148747 h 195988"/>
                <a:gd name="connsiteX42" fmla="*/ 40257 w 136744"/>
                <a:gd name="connsiteY42" fmla="*/ 140448 h 195988"/>
                <a:gd name="connsiteX43" fmla="*/ 46008 w 136744"/>
                <a:gd name="connsiteY43" fmla="*/ 134064 h 195988"/>
                <a:gd name="connsiteX44" fmla="*/ 46647 w 136744"/>
                <a:gd name="connsiteY44" fmla="*/ 133425 h 195988"/>
                <a:gd name="connsiteX45" fmla="*/ 46647 w 136744"/>
                <a:gd name="connsiteY45" fmla="*/ 132787 h 195988"/>
                <a:gd name="connsiteX46" fmla="*/ 51119 w 136744"/>
                <a:gd name="connsiteY46" fmla="*/ 125764 h 195988"/>
                <a:gd name="connsiteX47" fmla="*/ 59426 w 136744"/>
                <a:gd name="connsiteY47" fmla="*/ 123849 h 195988"/>
                <a:gd name="connsiteX48" fmla="*/ 60065 w 136744"/>
                <a:gd name="connsiteY48" fmla="*/ 123849 h 195988"/>
                <a:gd name="connsiteX49" fmla="*/ 60704 w 136744"/>
                <a:gd name="connsiteY49" fmla="*/ 123211 h 195988"/>
                <a:gd name="connsiteX50" fmla="*/ 76040 w 136744"/>
                <a:gd name="connsiteY50" fmla="*/ 122572 h 195988"/>
                <a:gd name="connsiteX51" fmla="*/ 76679 w 136744"/>
                <a:gd name="connsiteY51" fmla="*/ 123211 h 195988"/>
                <a:gd name="connsiteX52" fmla="*/ 77318 w 136744"/>
                <a:gd name="connsiteY52" fmla="*/ 123849 h 195988"/>
                <a:gd name="connsiteX53" fmla="*/ 77957 w 136744"/>
                <a:gd name="connsiteY53" fmla="*/ 123849 h 195988"/>
                <a:gd name="connsiteX54" fmla="*/ 86264 w 136744"/>
                <a:gd name="connsiteY54" fmla="*/ 125764 h 195988"/>
                <a:gd name="connsiteX55" fmla="*/ 90737 w 136744"/>
                <a:gd name="connsiteY55" fmla="*/ 132787 h 195988"/>
                <a:gd name="connsiteX56" fmla="*/ 90737 w 136744"/>
                <a:gd name="connsiteY56" fmla="*/ 133425 h 195988"/>
                <a:gd name="connsiteX57" fmla="*/ 91376 w 136744"/>
                <a:gd name="connsiteY57" fmla="*/ 134064 h 195988"/>
                <a:gd name="connsiteX58" fmla="*/ 97127 w 136744"/>
                <a:gd name="connsiteY58" fmla="*/ 140448 h 195988"/>
                <a:gd name="connsiteX59" fmla="*/ 96488 w 136744"/>
                <a:gd name="connsiteY59" fmla="*/ 148747 h 195988"/>
                <a:gd name="connsiteX60" fmla="*/ 95849 w 136744"/>
                <a:gd name="connsiteY60" fmla="*/ 149385 h 195988"/>
                <a:gd name="connsiteX61" fmla="*/ 96488 w 136744"/>
                <a:gd name="connsiteY61" fmla="*/ 151300 h 195988"/>
                <a:gd name="connsiteX62" fmla="*/ 0 w 136744"/>
                <a:gd name="connsiteY62" fmla="*/ 195988 h 195988"/>
                <a:gd name="connsiteX63" fmla="*/ 136745 w 136744"/>
                <a:gd name="connsiteY63" fmla="*/ 195988 h 195988"/>
                <a:gd name="connsiteX64" fmla="*/ 136745 w 136744"/>
                <a:gd name="connsiteY64" fmla="*/ 0 h 195988"/>
                <a:gd name="connsiteX65" fmla="*/ 639 w 136744"/>
                <a:gd name="connsiteY65" fmla="*/ 0 h 195988"/>
                <a:gd name="connsiteX66" fmla="*/ 0 w 136744"/>
                <a:gd name="connsiteY66" fmla="*/ 195988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36744" h="195988">
                  <a:moveTo>
                    <a:pt x="23643" y="84268"/>
                  </a:moveTo>
                  <a:lnTo>
                    <a:pt x="113102" y="84268"/>
                  </a:lnTo>
                  <a:cubicBezTo>
                    <a:pt x="116936" y="84268"/>
                    <a:pt x="119492" y="86822"/>
                    <a:pt x="119492" y="90652"/>
                  </a:cubicBezTo>
                  <a:cubicBezTo>
                    <a:pt x="119492" y="94483"/>
                    <a:pt x="116936" y="97036"/>
                    <a:pt x="113102" y="97036"/>
                  </a:cubicBezTo>
                  <a:lnTo>
                    <a:pt x="23643" y="97036"/>
                  </a:lnTo>
                  <a:cubicBezTo>
                    <a:pt x="19809" y="97036"/>
                    <a:pt x="17253" y="94483"/>
                    <a:pt x="17253" y="90652"/>
                  </a:cubicBezTo>
                  <a:cubicBezTo>
                    <a:pt x="17253" y="86822"/>
                    <a:pt x="19809" y="84268"/>
                    <a:pt x="23643" y="84268"/>
                  </a:cubicBezTo>
                  <a:moveTo>
                    <a:pt x="23643" y="54902"/>
                  </a:moveTo>
                  <a:lnTo>
                    <a:pt x="113102" y="54902"/>
                  </a:lnTo>
                  <a:cubicBezTo>
                    <a:pt x="116936" y="54902"/>
                    <a:pt x="119492" y="57456"/>
                    <a:pt x="119492" y="61286"/>
                  </a:cubicBezTo>
                  <a:cubicBezTo>
                    <a:pt x="119492" y="65117"/>
                    <a:pt x="116936" y="67670"/>
                    <a:pt x="113102" y="67670"/>
                  </a:cubicBezTo>
                  <a:lnTo>
                    <a:pt x="23643" y="67670"/>
                  </a:lnTo>
                  <a:cubicBezTo>
                    <a:pt x="19809" y="67670"/>
                    <a:pt x="17253" y="65117"/>
                    <a:pt x="17253" y="61286"/>
                  </a:cubicBezTo>
                  <a:cubicBezTo>
                    <a:pt x="17253" y="57456"/>
                    <a:pt x="19809" y="54902"/>
                    <a:pt x="23643" y="54902"/>
                  </a:cubicBezTo>
                  <a:moveTo>
                    <a:pt x="23643" y="24897"/>
                  </a:moveTo>
                  <a:lnTo>
                    <a:pt x="113102" y="24897"/>
                  </a:lnTo>
                  <a:cubicBezTo>
                    <a:pt x="116936" y="24897"/>
                    <a:pt x="119492" y="27451"/>
                    <a:pt x="119492" y="31281"/>
                  </a:cubicBezTo>
                  <a:cubicBezTo>
                    <a:pt x="119492" y="35112"/>
                    <a:pt x="116936" y="37665"/>
                    <a:pt x="113102" y="37665"/>
                  </a:cubicBezTo>
                  <a:lnTo>
                    <a:pt x="23643" y="37665"/>
                  </a:lnTo>
                  <a:cubicBezTo>
                    <a:pt x="19809" y="37665"/>
                    <a:pt x="17253" y="35112"/>
                    <a:pt x="17253" y="31281"/>
                  </a:cubicBezTo>
                  <a:cubicBezTo>
                    <a:pt x="17253" y="27451"/>
                    <a:pt x="19809" y="24897"/>
                    <a:pt x="23643" y="24897"/>
                  </a:cubicBezTo>
                  <a:moveTo>
                    <a:pt x="96488" y="151300"/>
                  </a:moveTo>
                  <a:cubicBezTo>
                    <a:pt x="97766" y="153854"/>
                    <a:pt x="97766" y="157046"/>
                    <a:pt x="97127" y="159600"/>
                  </a:cubicBezTo>
                  <a:cubicBezTo>
                    <a:pt x="95849" y="162153"/>
                    <a:pt x="93932" y="164707"/>
                    <a:pt x="91376" y="165984"/>
                  </a:cubicBezTo>
                  <a:lnTo>
                    <a:pt x="90737" y="166622"/>
                  </a:lnTo>
                  <a:cubicBezTo>
                    <a:pt x="90737" y="166622"/>
                    <a:pt x="90737" y="167260"/>
                    <a:pt x="90737" y="167260"/>
                  </a:cubicBezTo>
                  <a:cubicBezTo>
                    <a:pt x="90098" y="169814"/>
                    <a:pt x="88820" y="173006"/>
                    <a:pt x="86264" y="174283"/>
                  </a:cubicBezTo>
                  <a:cubicBezTo>
                    <a:pt x="83708" y="175560"/>
                    <a:pt x="81152" y="176198"/>
                    <a:pt x="77957" y="176198"/>
                  </a:cubicBezTo>
                  <a:cubicBezTo>
                    <a:pt x="77957" y="176198"/>
                    <a:pt x="77318" y="176198"/>
                    <a:pt x="77318" y="176198"/>
                  </a:cubicBezTo>
                  <a:lnTo>
                    <a:pt x="76679" y="176836"/>
                  </a:lnTo>
                  <a:cubicBezTo>
                    <a:pt x="72845" y="181305"/>
                    <a:pt x="65816" y="181305"/>
                    <a:pt x="61343" y="177475"/>
                  </a:cubicBezTo>
                  <a:cubicBezTo>
                    <a:pt x="61343" y="177475"/>
                    <a:pt x="61343" y="177475"/>
                    <a:pt x="60704" y="176836"/>
                  </a:cubicBezTo>
                  <a:lnTo>
                    <a:pt x="60065" y="176198"/>
                  </a:lnTo>
                  <a:lnTo>
                    <a:pt x="59426" y="176198"/>
                  </a:lnTo>
                  <a:cubicBezTo>
                    <a:pt x="53675" y="177475"/>
                    <a:pt x="47925" y="173644"/>
                    <a:pt x="46647" y="167899"/>
                  </a:cubicBezTo>
                  <a:cubicBezTo>
                    <a:pt x="46647" y="167260"/>
                    <a:pt x="46647" y="167260"/>
                    <a:pt x="46647" y="166622"/>
                  </a:cubicBezTo>
                  <a:cubicBezTo>
                    <a:pt x="46647" y="166622"/>
                    <a:pt x="46647" y="165984"/>
                    <a:pt x="46647" y="165984"/>
                  </a:cubicBezTo>
                  <a:lnTo>
                    <a:pt x="46008" y="165345"/>
                  </a:lnTo>
                  <a:cubicBezTo>
                    <a:pt x="43452" y="164068"/>
                    <a:pt x="41535" y="161515"/>
                    <a:pt x="40257" y="158961"/>
                  </a:cubicBezTo>
                  <a:cubicBezTo>
                    <a:pt x="39618" y="156408"/>
                    <a:pt x="39618" y="153216"/>
                    <a:pt x="40896" y="150662"/>
                  </a:cubicBezTo>
                  <a:cubicBezTo>
                    <a:pt x="40896" y="150024"/>
                    <a:pt x="41535" y="150024"/>
                    <a:pt x="41535" y="149385"/>
                  </a:cubicBezTo>
                  <a:cubicBezTo>
                    <a:pt x="41535" y="149385"/>
                    <a:pt x="41535" y="149385"/>
                    <a:pt x="40896" y="148747"/>
                  </a:cubicBezTo>
                  <a:cubicBezTo>
                    <a:pt x="39618" y="146193"/>
                    <a:pt x="39618" y="143001"/>
                    <a:pt x="40257" y="140448"/>
                  </a:cubicBezTo>
                  <a:cubicBezTo>
                    <a:pt x="41535" y="137894"/>
                    <a:pt x="43452" y="135340"/>
                    <a:pt x="46008" y="134064"/>
                  </a:cubicBezTo>
                  <a:lnTo>
                    <a:pt x="46647" y="133425"/>
                  </a:lnTo>
                  <a:cubicBezTo>
                    <a:pt x="46647" y="133425"/>
                    <a:pt x="46647" y="132787"/>
                    <a:pt x="46647" y="132787"/>
                  </a:cubicBezTo>
                  <a:cubicBezTo>
                    <a:pt x="47285" y="130233"/>
                    <a:pt x="48563" y="127041"/>
                    <a:pt x="51119" y="125764"/>
                  </a:cubicBezTo>
                  <a:cubicBezTo>
                    <a:pt x="53675" y="124488"/>
                    <a:pt x="56231" y="123849"/>
                    <a:pt x="59426" y="123849"/>
                  </a:cubicBezTo>
                  <a:lnTo>
                    <a:pt x="60065" y="123849"/>
                  </a:lnTo>
                  <a:lnTo>
                    <a:pt x="60704" y="123211"/>
                  </a:lnTo>
                  <a:cubicBezTo>
                    <a:pt x="64538" y="118742"/>
                    <a:pt x="71567" y="118742"/>
                    <a:pt x="76040" y="122572"/>
                  </a:cubicBezTo>
                  <a:cubicBezTo>
                    <a:pt x="76040" y="122572"/>
                    <a:pt x="76040" y="122572"/>
                    <a:pt x="76679" y="123211"/>
                  </a:cubicBezTo>
                  <a:lnTo>
                    <a:pt x="77318" y="123849"/>
                  </a:lnTo>
                  <a:lnTo>
                    <a:pt x="77957" y="123849"/>
                  </a:lnTo>
                  <a:cubicBezTo>
                    <a:pt x="80513" y="123211"/>
                    <a:pt x="83708" y="123849"/>
                    <a:pt x="86264" y="125764"/>
                  </a:cubicBezTo>
                  <a:cubicBezTo>
                    <a:pt x="88820" y="127680"/>
                    <a:pt x="90098" y="130233"/>
                    <a:pt x="90737" y="132787"/>
                  </a:cubicBezTo>
                  <a:cubicBezTo>
                    <a:pt x="90737" y="132787"/>
                    <a:pt x="90737" y="133425"/>
                    <a:pt x="90737" y="133425"/>
                  </a:cubicBezTo>
                  <a:lnTo>
                    <a:pt x="91376" y="134064"/>
                  </a:lnTo>
                  <a:cubicBezTo>
                    <a:pt x="93932" y="135340"/>
                    <a:pt x="95849" y="137894"/>
                    <a:pt x="97127" y="140448"/>
                  </a:cubicBezTo>
                  <a:cubicBezTo>
                    <a:pt x="97766" y="143001"/>
                    <a:pt x="97766" y="146193"/>
                    <a:pt x="96488" y="148747"/>
                  </a:cubicBezTo>
                  <a:lnTo>
                    <a:pt x="95849" y="149385"/>
                  </a:lnTo>
                  <a:lnTo>
                    <a:pt x="96488" y="151300"/>
                  </a:lnTo>
                  <a:moveTo>
                    <a:pt x="0" y="195988"/>
                  </a:moveTo>
                  <a:lnTo>
                    <a:pt x="136745" y="195988"/>
                  </a:lnTo>
                  <a:lnTo>
                    <a:pt x="136745" y="0"/>
                  </a:lnTo>
                  <a:lnTo>
                    <a:pt x="639" y="0"/>
                  </a:lnTo>
                  <a:lnTo>
                    <a:pt x="0" y="195988"/>
                  </a:lnTo>
                  <a:close/>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4" name="Graphic 4">
              <a:extLst>
                <a:ext uri="{FF2B5EF4-FFF2-40B4-BE49-F238E27FC236}">
                  <a16:creationId xmlns:a16="http://schemas.microsoft.com/office/drawing/2014/main" id="{8A368C47-7491-4F7F-4727-C824996FD95B}"/>
                </a:ext>
              </a:extLst>
            </p:cNvPr>
            <p:cNvSpPr/>
            <p:nvPr/>
          </p:nvSpPr>
          <p:spPr>
            <a:xfrm>
              <a:off x="1071592" y="3071496"/>
              <a:ext cx="30671" cy="33196"/>
            </a:xfrm>
            <a:custGeom>
              <a:avLst/>
              <a:gdLst>
                <a:gd name="connsiteX0" fmla="*/ 26838 w 30671"/>
                <a:gd name="connsiteY0" fmla="*/ 8299 h 33196"/>
                <a:gd name="connsiteX1" fmla="*/ 24921 w 30671"/>
                <a:gd name="connsiteY1" fmla="*/ 3192 h 33196"/>
                <a:gd name="connsiteX2" fmla="*/ 19809 w 30671"/>
                <a:gd name="connsiteY2" fmla="*/ 2554 h 33196"/>
                <a:gd name="connsiteX3" fmla="*/ 15336 w 30671"/>
                <a:gd name="connsiteY3" fmla="*/ 0 h 33196"/>
                <a:gd name="connsiteX4" fmla="*/ 10863 w 30671"/>
                <a:gd name="connsiteY4" fmla="*/ 2554 h 33196"/>
                <a:gd name="connsiteX5" fmla="*/ 5751 w 30671"/>
                <a:gd name="connsiteY5" fmla="*/ 3192 h 33196"/>
                <a:gd name="connsiteX6" fmla="*/ 3834 w 30671"/>
                <a:gd name="connsiteY6" fmla="*/ 8299 h 33196"/>
                <a:gd name="connsiteX7" fmla="*/ 0 w 30671"/>
                <a:gd name="connsiteY7" fmla="*/ 11491 h 33196"/>
                <a:gd name="connsiteX8" fmla="*/ 0 w 30671"/>
                <a:gd name="connsiteY8" fmla="*/ 21706 h 33196"/>
                <a:gd name="connsiteX9" fmla="*/ 3834 w 30671"/>
                <a:gd name="connsiteY9" fmla="*/ 24897 h 33196"/>
                <a:gd name="connsiteX10" fmla="*/ 5751 w 30671"/>
                <a:gd name="connsiteY10" fmla="*/ 30005 h 33196"/>
                <a:gd name="connsiteX11" fmla="*/ 7029 w 30671"/>
                <a:gd name="connsiteY11" fmla="*/ 30005 h 33196"/>
                <a:gd name="connsiteX12" fmla="*/ 10863 w 30671"/>
                <a:gd name="connsiteY12" fmla="*/ 30643 h 33196"/>
                <a:gd name="connsiteX13" fmla="*/ 15336 w 30671"/>
                <a:gd name="connsiteY13" fmla="*/ 33197 h 33196"/>
                <a:gd name="connsiteX14" fmla="*/ 19809 w 30671"/>
                <a:gd name="connsiteY14" fmla="*/ 30643 h 33196"/>
                <a:gd name="connsiteX15" fmla="*/ 24921 w 30671"/>
                <a:gd name="connsiteY15" fmla="*/ 30005 h 33196"/>
                <a:gd name="connsiteX16" fmla="*/ 26838 w 30671"/>
                <a:gd name="connsiteY16" fmla="*/ 24897 h 33196"/>
                <a:gd name="connsiteX17" fmla="*/ 30672 w 30671"/>
                <a:gd name="connsiteY17" fmla="*/ 21706 h 33196"/>
                <a:gd name="connsiteX18" fmla="*/ 30672 w 30671"/>
                <a:gd name="connsiteY18" fmla="*/ 11491 h 33196"/>
                <a:gd name="connsiteX19" fmla="*/ 26838 w 30671"/>
                <a:gd name="connsiteY19" fmla="*/ 8299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671" h="33196">
                  <a:moveTo>
                    <a:pt x="26838" y="8299"/>
                  </a:moveTo>
                  <a:cubicBezTo>
                    <a:pt x="25560" y="7022"/>
                    <a:pt x="24921" y="5107"/>
                    <a:pt x="24921" y="3192"/>
                  </a:cubicBezTo>
                  <a:cubicBezTo>
                    <a:pt x="23004" y="3192"/>
                    <a:pt x="21087" y="3192"/>
                    <a:pt x="19809" y="2554"/>
                  </a:cubicBezTo>
                  <a:cubicBezTo>
                    <a:pt x="17892" y="1915"/>
                    <a:pt x="16614" y="1277"/>
                    <a:pt x="15336" y="0"/>
                  </a:cubicBezTo>
                  <a:cubicBezTo>
                    <a:pt x="14058" y="1277"/>
                    <a:pt x="12780" y="1915"/>
                    <a:pt x="10863" y="2554"/>
                  </a:cubicBezTo>
                  <a:cubicBezTo>
                    <a:pt x="8946" y="3192"/>
                    <a:pt x="7668" y="3192"/>
                    <a:pt x="5751" y="3192"/>
                  </a:cubicBezTo>
                  <a:cubicBezTo>
                    <a:pt x="5112" y="5107"/>
                    <a:pt x="4473" y="6384"/>
                    <a:pt x="3834" y="8299"/>
                  </a:cubicBezTo>
                  <a:cubicBezTo>
                    <a:pt x="2556" y="9576"/>
                    <a:pt x="1278" y="10853"/>
                    <a:pt x="0" y="11491"/>
                  </a:cubicBezTo>
                  <a:cubicBezTo>
                    <a:pt x="1278" y="14683"/>
                    <a:pt x="1278" y="18514"/>
                    <a:pt x="0" y="21706"/>
                  </a:cubicBezTo>
                  <a:cubicBezTo>
                    <a:pt x="1278" y="22344"/>
                    <a:pt x="2556" y="23621"/>
                    <a:pt x="3834" y="24897"/>
                  </a:cubicBezTo>
                  <a:cubicBezTo>
                    <a:pt x="5112" y="26174"/>
                    <a:pt x="5751" y="28089"/>
                    <a:pt x="5751" y="30005"/>
                  </a:cubicBezTo>
                  <a:lnTo>
                    <a:pt x="7029" y="30005"/>
                  </a:lnTo>
                  <a:cubicBezTo>
                    <a:pt x="8307" y="30005"/>
                    <a:pt x="9585" y="30005"/>
                    <a:pt x="10863" y="30643"/>
                  </a:cubicBezTo>
                  <a:cubicBezTo>
                    <a:pt x="12780" y="31281"/>
                    <a:pt x="14058" y="31920"/>
                    <a:pt x="15336" y="33197"/>
                  </a:cubicBezTo>
                  <a:cubicBezTo>
                    <a:pt x="16614" y="31920"/>
                    <a:pt x="17892" y="31281"/>
                    <a:pt x="19809" y="30643"/>
                  </a:cubicBezTo>
                  <a:cubicBezTo>
                    <a:pt x="21726" y="30005"/>
                    <a:pt x="23004" y="30005"/>
                    <a:pt x="24921" y="30005"/>
                  </a:cubicBezTo>
                  <a:cubicBezTo>
                    <a:pt x="25560" y="28089"/>
                    <a:pt x="26199" y="26813"/>
                    <a:pt x="26838" y="24897"/>
                  </a:cubicBezTo>
                  <a:cubicBezTo>
                    <a:pt x="28116" y="23621"/>
                    <a:pt x="29394" y="22344"/>
                    <a:pt x="30672" y="21706"/>
                  </a:cubicBezTo>
                  <a:cubicBezTo>
                    <a:pt x="29394" y="18514"/>
                    <a:pt x="29394" y="14683"/>
                    <a:pt x="30672" y="11491"/>
                  </a:cubicBezTo>
                  <a:cubicBezTo>
                    <a:pt x="29394" y="11491"/>
                    <a:pt x="28116" y="10214"/>
                    <a:pt x="26838" y="8299"/>
                  </a:cubicBezTo>
                </a:path>
              </a:pathLst>
            </a:custGeom>
            <a:solidFill>
              <a:srgbClr val="26890D"/>
            </a:solid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15" name="Textbox 38">
            <a:extLst>
              <a:ext uri="{FF2B5EF4-FFF2-40B4-BE49-F238E27FC236}">
                <a16:creationId xmlns:a16="http://schemas.microsoft.com/office/drawing/2014/main" id="{5745FFC4-64F6-D2BE-F33F-FDA17254FAEB}"/>
              </a:ext>
            </a:extLst>
          </p:cNvPr>
          <p:cNvSpPr txBox="1"/>
          <p:nvPr/>
        </p:nvSpPr>
        <p:spPr>
          <a:xfrm>
            <a:off x="2471874" y="3830175"/>
            <a:ext cx="1722335" cy="139007"/>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PPA</a:t>
            </a: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 («Διμερή συμφωνία πώλησης ενέργειας»)</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16" name="Straight Arrow Connector 15">
            <a:extLst>
              <a:ext uri="{FF2B5EF4-FFF2-40B4-BE49-F238E27FC236}">
                <a16:creationId xmlns:a16="http://schemas.microsoft.com/office/drawing/2014/main" id="{6BC5381B-E227-3946-7838-DB94235C824E}"/>
              </a:ext>
            </a:extLst>
          </p:cNvPr>
          <p:cNvCxnSpPr>
            <a:cxnSpLocks/>
          </p:cNvCxnSpPr>
          <p:nvPr/>
        </p:nvCxnSpPr>
        <p:spPr>
          <a:xfrm>
            <a:off x="1685229" y="3538660"/>
            <a:ext cx="1131516" cy="0"/>
          </a:xfrm>
          <a:prstGeom prst="straightConnector1">
            <a:avLst/>
          </a:prstGeom>
          <a:ln>
            <a:prstDash val="dash"/>
            <a:tailEnd type="triangle"/>
          </a:ln>
        </p:spPr>
        <p:style>
          <a:lnRef idx="2">
            <a:schemeClr val="accent4"/>
          </a:lnRef>
          <a:fillRef idx="0">
            <a:schemeClr val="accent4"/>
          </a:fillRef>
          <a:effectRef idx="1">
            <a:schemeClr val="accent4"/>
          </a:effectRef>
          <a:fontRef idx="minor">
            <a:schemeClr val="tx1"/>
          </a:fontRef>
        </p:style>
      </p:cxnSp>
      <p:cxnSp>
        <p:nvCxnSpPr>
          <p:cNvPr id="17" name="Straight Arrow Connector 16">
            <a:extLst>
              <a:ext uri="{FF2B5EF4-FFF2-40B4-BE49-F238E27FC236}">
                <a16:creationId xmlns:a16="http://schemas.microsoft.com/office/drawing/2014/main" id="{EE1149B8-EF2D-6123-09ED-EC5218DC4FAC}"/>
              </a:ext>
            </a:extLst>
          </p:cNvPr>
          <p:cNvCxnSpPr>
            <a:cxnSpLocks/>
          </p:cNvCxnSpPr>
          <p:nvPr/>
        </p:nvCxnSpPr>
        <p:spPr>
          <a:xfrm flipH="1">
            <a:off x="3478316" y="3527572"/>
            <a:ext cx="1021615" cy="0"/>
          </a:xfrm>
          <a:prstGeom prst="straightConnector1">
            <a:avLst/>
          </a:prstGeom>
          <a:ln>
            <a:prstDash val="dash"/>
            <a:tailEnd type="triangle"/>
          </a:ln>
        </p:spPr>
        <p:style>
          <a:lnRef idx="2">
            <a:schemeClr val="accent4"/>
          </a:lnRef>
          <a:fillRef idx="0">
            <a:schemeClr val="accent4"/>
          </a:fillRef>
          <a:effectRef idx="1">
            <a:schemeClr val="accent4"/>
          </a:effectRef>
          <a:fontRef idx="minor">
            <a:schemeClr val="tx1"/>
          </a:fontRef>
        </p:style>
      </p:cxnSp>
      <p:pic>
        <p:nvPicPr>
          <p:cNvPr id="18" name="Picture 17" descr="A screenshot of a computer&#10;&#10;Description automatically generated">
            <a:extLst>
              <a:ext uri="{FF2B5EF4-FFF2-40B4-BE49-F238E27FC236}">
                <a16:creationId xmlns:a16="http://schemas.microsoft.com/office/drawing/2014/main" id="{1AF64016-8729-1ED3-39FD-5CCCA08C9774}"/>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61804" b="72457" l="28888" r="35067">
                        <a14:foregroundMark x1="32080" y1="62956" x2="32080" y2="62956"/>
                        <a14:foregroundMark x1="30330" y1="72169" x2="30330" y2="72169"/>
                        <a14:foregroundMark x1="30072" y1="72361" x2="34089" y2="72457"/>
                        <a14:foregroundMark x1="32080" y1="63820" x2="32080" y2="63820"/>
                        <a14:foregroundMark x1="31874" y1="63052" x2="31874" y2="63052"/>
                        <a14:foregroundMark x1="32132" y1="61804" x2="32132" y2="61804"/>
                        <a14:foregroundMark x1="32132" y1="63244" x2="32132" y2="63244"/>
                      </a14:backgroundRemoval>
                    </a14:imgEffect>
                  </a14:imgLayer>
                </a14:imgProps>
              </a:ext>
              <a:ext uri="{28A0092B-C50C-407E-A947-70E740481C1C}">
                <a14:useLocalDpi xmlns:a14="http://schemas.microsoft.com/office/drawing/2010/main" val="0"/>
              </a:ext>
            </a:extLst>
          </a:blip>
          <a:srcRect l="28141" t="61519" r="64083" b="26340"/>
          <a:stretch/>
        </p:blipFill>
        <p:spPr>
          <a:xfrm>
            <a:off x="1738283" y="4881124"/>
            <a:ext cx="851824" cy="1047953"/>
          </a:xfrm>
          <a:prstGeom prst="rect">
            <a:avLst/>
          </a:prstGeom>
        </p:spPr>
      </p:pic>
      <p:pic>
        <p:nvPicPr>
          <p:cNvPr id="19" name="Picture 18" descr="A screenshot of a computer&#10;&#10;Description automatically generated">
            <a:extLst>
              <a:ext uri="{FF2B5EF4-FFF2-40B4-BE49-F238E27FC236}">
                <a16:creationId xmlns:a16="http://schemas.microsoft.com/office/drawing/2014/main" id="{E7716FB4-D504-6621-EA57-B394F6119FA9}"/>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61804" b="72457" l="28888" r="35067">
                        <a14:foregroundMark x1="32080" y1="62956" x2="32080" y2="62956"/>
                        <a14:foregroundMark x1="30330" y1="72169" x2="30330" y2="72169"/>
                        <a14:foregroundMark x1="30072" y1="72361" x2="34089" y2="72457"/>
                        <a14:foregroundMark x1="32080" y1="63820" x2="32080" y2="63820"/>
                        <a14:foregroundMark x1="31874" y1="63052" x2="31874" y2="63052"/>
                        <a14:foregroundMark x1="32132" y1="61804" x2="32132" y2="61804"/>
                        <a14:foregroundMark x1="32132" y1="63244" x2="32132" y2="63244"/>
                      </a14:backgroundRemoval>
                    </a14:imgEffect>
                  </a14:imgLayer>
                </a14:imgProps>
              </a:ext>
              <a:ext uri="{28A0092B-C50C-407E-A947-70E740481C1C}">
                <a14:useLocalDpi xmlns:a14="http://schemas.microsoft.com/office/drawing/2010/main" val="0"/>
              </a:ext>
            </a:extLst>
          </a:blip>
          <a:srcRect l="28141" t="61519" r="64083" b="26340"/>
          <a:stretch/>
        </p:blipFill>
        <p:spPr>
          <a:xfrm>
            <a:off x="3854168" y="4888618"/>
            <a:ext cx="851824" cy="1047953"/>
          </a:xfrm>
          <a:prstGeom prst="rect">
            <a:avLst/>
          </a:prstGeom>
        </p:spPr>
      </p:pic>
      <p:cxnSp>
        <p:nvCxnSpPr>
          <p:cNvPr id="20" name="Connector: Elbow 19">
            <a:extLst>
              <a:ext uri="{FF2B5EF4-FFF2-40B4-BE49-F238E27FC236}">
                <a16:creationId xmlns:a16="http://schemas.microsoft.com/office/drawing/2014/main" id="{7749F4DF-2A9F-2F70-AA90-A8AB75D7AEBD}"/>
              </a:ext>
            </a:extLst>
          </p:cNvPr>
          <p:cNvCxnSpPr>
            <a:cxnSpLocks/>
            <a:stCxn id="7" idx="2"/>
            <a:endCxn id="18" idx="1"/>
          </p:cNvCxnSpPr>
          <p:nvPr/>
        </p:nvCxnSpPr>
        <p:spPr>
          <a:xfrm rot="16200000" flipH="1">
            <a:off x="1073395" y="4740212"/>
            <a:ext cx="746833" cy="582944"/>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21" name="Freeform 556">
            <a:extLst>
              <a:ext uri="{FF2B5EF4-FFF2-40B4-BE49-F238E27FC236}">
                <a16:creationId xmlns:a16="http://schemas.microsoft.com/office/drawing/2014/main" id="{6913BC76-6F62-0F91-8463-4C6A222F657F}"/>
              </a:ext>
            </a:extLst>
          </p:cNvPr>
          <p:cNvSpPr>
            <a:spLocks noChangeAspect="1" noEditPoints="1"/>
          </p:cNvSpPr>
          <p:nvPr/>
        </p:nvSpPr>
        <p:spPr bwMode="auto">
          <a:xfrm>
            <a:off x="1240851" y="4928656"/>
            <a:ext cx="389425" cy="397617"/>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22" name="Picture 21" descr="A screenshot of a computer&#10;&#10;Description automatically generated">
            <a:extLst>
              <a:ext uri="{FF2B5EF4-FFF2-40B4-BE49-F238E27FC236}">
                <a16:creationId xmlns:a16="http://schemas.microsoft.com/office/drawing/2014/main" id="{CF1FA3A0-2240-1481-26F4-B0DEBF6C6CEB}"/>
              </a:ext>
            </a:extLst>
          </p:cNvPr>
          <p:cNvPicPr>
            <a:picLocks noChangeAspect="1"/>
          </p:cNvPicPr>
          <p:nvPr/>
        </p:nvPicPr>
        <p:blipFill rotWithShape="1">
          <a:blip r:embed="rId10">
            <a:extLst>
              <a:ext uri="{28A0092B-C50C-407E-A947-70E740481C1C}">
                <a14:useLocalDpi xmlns:a14="http://schemas.microsoft.com/office/drawing/2010/main" val="0"/>
              </a:ext>
            </a:extLst>
          </a:blip>
          <a:srcRect l="45112" t="58436" r="46708" b="28831"/>
          <a:stretch/>
        </p:blipFill>
        <p:spPr>
          <a:xfrm>
            <a:off x="2676406" y="4676202"/>
            <a:ext cx="1230257" cy="1214330"/>
          </a:xfrm>
          <a:prstGeom prst="rect">
            <a:avLst/>
          </a:prstGeom>
        </p:spPr>
      </p:pic>
      <p:cxnSp>
        <p:nvCxnSpPr>
          <p:cNvPr id="23" name="Connector: Elbow 22">
            <a:extLst>
              <a:ext uri="{FF2B5EF4-FFF2-40B4-BE49-F238E27FC236}">
                <a16:creationId xmlns:a16="http://schemas.microsoft.com/office/drawing/2014/main" id="{45F07677-5F7F-2D47-3F8B-D53798293BD0}"/>
              </a:ext>
            </a:extLst>
          </p:cNvPr>
          <p:cNvCxnSpPr>
            <a:cxnSpLocks/>
          </p:cNvCxnSpPr>
          <p:nvPr/>
        </p:nvCxnSpPr>
        <p:spPr>
          <a:xfrm flipV="1">
            <a:off x="4799395" y="4728367"/>
            <a:ext cx="377975" cy="684227"/>
          </a:xfrm>
          <a:prstGeom prst="bentConnector2">
            <a:avLst/>
          </a:prstGeom>
          <a:ln>
            <a:tailEnd type="triangle"/>
          </a:ln>
        </p:spPr>
        <p:style>
          <a:lnRef idx="2">
            <a:schemeClr val="accent2"/>
          </a:lnRef>
          <a:fillRef idx="0">
            <a:schemeClr val="accent2"/>
          </a:fillRef>
          <a:effectRef idx="1">
            <a:schemeClr val="accent2"/>
          </a:effectRef>
          <a:fontRef idx="minor">
            <a:schemeClr val="tx1"/>
          </a:fontRef>
        </p:style>
      </p:cxnSp>
      <p:sp>
        <p:nvSpPr>
          <p:cNvPr id="24" name="Freeform 556">
            <a:extLst>
              <a:ext uri="{FF2B5EF4-FFF2-40B4-BE49-F238E27FC236}">
                <a16:creationId xmlns:a16="http://schemas.microsoft.com/office/drawing/2014/main" id="{85B080F5-2EF9-CD8E-41E0-7DD5B1828300}"/>
              </a:ext>
            </a:extLst>
          </p:cNvPr>
          <p:cNvSpPr>
            <a:spLocks noChangeAspect="1" noEditPoints="1"/>
          </p:cNvSpPr>
          <p:nvPr/>
        </p:nvSpPr>
        <p:spPr bwMode="auto">
          <a:xfrm>
            <a:off x="4650072" y="4943680"/>
            <a:ext cx="389425" cy="397617"/>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25" name="Connector: Elbow 24">
            <a:extLst>
              <a:ext uri="{FF2B5EF4-FFF2-40B4-BE49-F238E27FC236}">
                <a16:creationId xmlns:a16="http://schemas.microsoft.com/office/drawing/2014/main" id="{4E877DB3-01D7-4629-F61A-8B5A153AA1F1}"/>
              </a:ext>
            </a:extLst>
          </p:cNvPr>
          <p:cNvCxnSpPr>
            <a:cxnSpLocks/>
          </p:cNvCxnSpPr>
          <p:nvPr/>
        </p:nvCxnSpPr>
        <p:spPr>
          <a:xfrm rot="16200000" flipH="1" flipV="1">
            <a:off x="3142512" y="743996"/>
            <a:ext cx="18348" cy="3992694"/>
          </a:xfrm>
          <a:prstGeom prst="bentConnector3">
            <a:avLst>
              <a:gd name="adj1" fmla="val -1245912"/>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26" name="Graphic 4">
            <a:extLst>
              <a:ext uri="{FF2B5EF4-FFF2-40B4-BE49-F238E27FC236}">
                <a16:creationId xmlns:a16="http://schemas.microsoft.com/office/drawing/2014/main" id="{BEF8C6C7-1D2D-9966-CAEE-5ACD1946B6FF}"/>
              </a:ext>
            </a:extLst>
          </p:cNvPr>
          <p:cNvGrpSpPr/>
          <p:nvPr/>
        </p:nvGrpSpPr>
        <p:grpSpPr>
          <a:xfrm>
            <a:off x="1979939" y="1642814"/>
            <a:ext cx="388310" cy="446646"/>
            <a:chOff x="10324860" y="1402085"/>
            <a:chExt cx="361670" cy="361333"/>
          </a:xfrm>
          <a:solidFill>
            <a:schemeClr val="accent4"/>
          </a:solidFill>
        </p:grpSpPr>
        <p:sp>
          <p:nvSpPr>
            <p:cNvPr id="27" name="Graphic 4">
              <a:extLst>
                <a:ext uri="{FF2B5EF4-FFF2-40B4-BE49-F238E27FC236}">
                  <a16:creationId xmlns:a16="http://schemas.microsoft.com/office/drawing/2014/main" id="{42981EE0-DCBD-30CD-98CC-602C69B3612C}"/>
                </a:ext>
              </a:extLst>
            </p:cNvPr>
            <p:cNvSpPr/>
            <p:nvPr/>
          </p:nvSpPr>
          <p:spPr>
            <a:xfrm>
              <a:off x="10403456" y="1554662"/>
              <a:ext cx="169972" cy="91291"/>
            </a:xfrm>
            <a:custGeom>
              <a:avLst/>
              <a:gdLst>
                <a:gd name="connsiteX0" fmla="*/ 0 w 169972"/>
                <a:gd name="connsiteY0" fmla="*/ 0 h 91291"/>
                <a:gd name="connsiteX1" fmla="*/ 0 w 169972"/>
                <a:gd name="connsiteY1" fmla="*/ 91291 h 91291"/>
                <a:gd name="connsiteX2" fmla="*/ 169972 w 169972"/>
                <a:gd name="connsiteY2" fmla="*/ 91291 h 91291"/>
                <a:gd name="connsiteX3" fmla="*/ 169972 w 169972"/>
                <a:gd name="connsiteY3" fmla="*/ 0 h 91291"/>
                <a:gd name="connsiteX4" fmla="*/ 0 w 169972"/>
                <a:gd name="connsiteY4" fmla="*/ 0 h 91291"/>
                <a:gd name="connsiteX5" fmla="*/ 84986 w 169972"/>
                <a:gd name="connsiteY5" fmla="*/ 51072 h 91291"/>
                <a:gd name="connsiteX6" fmla="*/ 68373 w 169972"/>
                <a:gd name="connsiteY6" fmla="*/ 34474 h 91291"/>
                <a:gd name="connsiteX7" fmla="*/ 80513 w 169972"/>
                <a:gd name="connsiteY7" fmla="*/ 18514 h 91291"/>
                <a:gd name="connsiteX8" fmla="*/ 80513 w 169972"/>
                <a:gd name="connsiteY8" fmla="*/ 14683 h 91291"/>
                <a:gd name="connsiteX9" fmla="*/ 85625 w 169972"/>
                <a:gd name="connsiteY9" fmla="*/ 9576 h 91291"/>
                <a:gd name="connsiteX10" fmla="*/ 90738 w 169972"/>
                <a:gd name="connsiteY10" fmla="*/ 14683 h 91291"/>
                <a:gd name="connsiteX11" fmla="*/ 90738 w 169972"/>
                <a:gd name="connsiteY11" fmla="*/ 18514 h 91291"/>
                <a:gd name="connsiteX12" fmla="*/ 102878 w 169972"/>
                <a:gd name="connsiteY12" fmla="*/ 34474 h 91291"/>
                <a:gd name="connsiteX13" fmla="*/ 97766 w 169972"/>
                <a:gd name="connsiteY13" fmla="*/ 39581 h 91291"/>
                <a:gd name="connsiteX14" fmla="*/ 92654 w 169972"/>
                <a:gd name="connsiteY14" fmla="*/ 34474 h 91291"/>
                <a:gd name="connsiteX15" fmla="*/ 85625 w 169972"/>
                <a:gd name="connsiteY15" fmla="*/ 27451 h 91291"/>
                <a:gd name="connsiteX16" fmla="*/ 78597 w 169972"/>
                <a:gd name="connsiteY16" fmla="*/ 34474 h 91291"/>
                <a:gd name="connsiteX17" fmla="*/ 85625 w 169972"/>
                <a:gd name="connsiteY17" fmla="*/ 41496 h 91291"/>
                <a:gd name="connsiteX18" fmla="*/ 102239 w 169972"/>
                <a:gd name="connsiteY18" fmla="*/ 58094 h 91291"/>
                <a:gd name="connsiteX19" fmla="*/ 90098 w 169972"/>
                <a:gd name="connsiteY19" fmla="*/ 74054 h 91291"/>
                <a:gd name="connsiteX20" fmla="*/ 90098 w 169972"/>
                <a:gd name="connsiteY20" fmla="*/ 77885 h 91291"/>
                <a:gd name="connsiteX21" fmla="*/ 84986 w 169972"/>
                <a:gd name="connsiteY21" fmla="*/ 82992 h 91291"/>
                <a:gd name="connsiteX22" fmla="*/ 79874 w 169972"/>
                <a:gd name="connsiteY22" fmla="*/ 77885 h 91291"/>
                <a:gd name="connsiteX23" fmla="*/ 79874 w 169972"/>
                <a:gd name="connsiteY23" fmla="*/ 74054 h 91291"/>
                <a:gd name="connsiteX24" fmla="*/ 67733 w 169972"/>
                <a:gd name="connsiteY24" fmla="*/ 58094 h 91291"/>
                <a:gd name="connsiteX25" fmla="*/ 72845 w 169972"/>
                <a:gd name="connsiteY25" fmla="*/ 52987 h 91291"/>
                <a:gd name="connsiteX26" fmla="*/ 77958 w 169972"/>
                <a:gd name="connsiteY26" fmla="*/ 58094 h 91291"/>
                <a:gd name="connsiteX27" fmla="*/ 84986 w 169972"/>
                <a:gd name="connsiteY27" fmla="*/ 65117 h 91291"/>
                <a:gd name="connsiteX28" fmla="*/ 92015 w 169972"/>
                <a:gd name="connsiteY28" fmla="*/ 58094 h 91291"/>
                <a:gd name="connsiteX29" fmla="*/ 84986 w 169972"/>
                <a:gd name="connsiteY29" fmla="*/ 51072 h 9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9972" h="91291">
                  <a:moveTo>
                    <a:pt x="0" y="0"/>
                  </a:moveTo>
                  <a:lnTo>
                    <a:pt x="0" y="91291"/>
                  </a:lnTo>
                  <a:lnTo>
                    <a:pt x="169972" y="91291"/>
                  </a:lnTo>
                  <a:lnTo>
                    <a:pt x="169972" y="0"/>
                  </a:lnTo>
                  <a:lnTo>
                    <a:pt x="0" y="0"/>
                  </a:lnTo>
                  <a:close/>
                  <a:moveTo>
                    <a:pt x="84986" y="51072"/>
                  </a:moveTo>
                  <a:cubicBezTo>
                    <a:pt x="76040" y="51072"/>
                    <a:pt x="68373" y="43411"/>
                    <a:pt x="68373" y="34474"/>
                  </a:cubicBezTo>
                  <a:cubicBezTo>
                    <a:pt x="68373" y="26813"/>
                    <a:pt x="73484" y="20429"/>
                    <a:pt x="80513" y="18514"/>
                  </a:cubicBezTo>
                  <a:lnTo>
                    <a:pt x="80513" y="14683"/>
                  </a:lnTo>
                  <a:cubicBezTo>
                    <a:pt x="80513" y="12130"/>
                    <a:pt x="82430" y="9576"/>
                    <a:pt x="85625" y="9576"/>
                  </a:cubicBezTo>
                  <a:cubicBezTo>
                    <a:pt x="88820" y="9576"/>
                    <a:pt x="90738" y="11491"/>
                    <a:pt x="90738" y="14683"/>
                  </a:cubicBezTo>
                  <a:lnTo>
                    <a:pt x="90738" y="18514"/>
                  </a:lnTo>
                  <a:cubicBezTo>
                    <a:pt x="97766" y="20429"/>
                    <a:pt x="102878" y="26813"/>
                    <a:pt x="102878" y="34474"/>
                  </a:cubicBezTo>
                  <a:cubicBezTo>
                    <a:pt x="102878" y="37027"/>
                    <a:pt x="100961" y="39581"/>
                    <a:pt x="97766" y="39581"/>
                  </a:cubicBezTo>
                  <a:cubicBezTo>
                    <a:pt x="94571" y="39581"/>
                    <a:pt x="92654" y="37666"/>
                    <a:pt x="92654" y="34474"/>
                  </a:cubicBezTo>
                  <a:cubicBezTo>
                    <a:pt x="92654" y="30643"/>
                    <a:pt x="89459" y="27451"/>
                    <a:pt x="85625" y="27451"/>
                  </a:cubicBezTo>
                  <a:cubicBezTo>
                    <a:pt x="81792" y="27451"/>
                    <a:pt x="78597" y="30643"/>
                    <a:pt x="78597" y="34474"/>
                  </a:cubicBezTo>
                  <a:cubicBezTo>
                    <a:pt x="78597" y="38304"/>
                    <a:pt x="81792" y="41496"/>
                    <a:pt x="85625" y="41496"/>
                  </a:cubicBezTo>
                  <a:cubicBezTo>
                    <a:pt x="95210" y="41496"/>
                    <a:pt x="102239" y="49157"/>
                    <a:pt x="102239" y="58094"/>
                  </a:cubicBezTo>
                  <a:cubicBezTo>
                    <a:pt x="102239" y="65755"/>
                    <a:pt x="97128" y="72139"/>
                    <a:pt x="90098" y="74054"/>
                  </a:cubicBezTo>
                  <a:lnTo>
                    <a:pt x="90098" y="77885"/>
                  </a:lnTo>
                  <a:cubicBezTo>
                    <a:pt x="90098" y="80438"/>
                    <a:pt x="88181" y="82992"/>
                    <a:pt x="84986" y="82992"/>
                  </a:cubicBezTo>
                  <a:cubicBezTo>
                    <a:pt x="81792" y="82992"/>
                    <a:pt x="79874" y="81077"/>
                    <a:pt x="79874" y="77885"/>
                  </a:cubicBezTo>
                  <a:lnTo>
                    <a:pt x="79874" y="74054"/>
                  </a:lnTo>
                  <a:cubicBezTo>
                    <a:pt x="72845" y="72139"/>
                    <a:pt x="67733" y="65755"/>
                    <a:pt x="67733" y="58094"/>
                  </a:cubicBezTo>
                  <a:cubicBezTo>
                    <a:pt x="67733" y="55541"/>
                    <a:pt x="69650" y="52987"/>
                    <a:pt x="72845" y="52987"/>
                  </a:cubicBezTo>
                  <a:cubicBezTo>
                    <a:pt x="76040" y="52987"/>
                    <a:pt x="77958" y="54902"/>
                    <a:pt x="77958" y="58094"/>
                  </a:cubicBezTo>
                  <a:cubicBezTo>
                    <a:pt x="77958" y="61925"/>
                    <a:pt x="81153" y="65117"/>
                    <a:pt x="84986" y="65117"/>
                  </a:cubicBezTo>
                  <a:cubicBezTo>
                    <a:pt x="88820" y="65117"/>
                    <a:pt x="92015" y="61925"/>
                    <a:pt x="92015" y="58094"/>
                  </a:cubicBezTo>
                  <a:cubicBezTo>
                    <a:pt x="92654" y="54264"/>
                    <a:pt x="88820" y="51072"/>
                    <a:pt x="84986" y="5107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8" name="Graphic 4">
              <a:extLst>
                <a:ext uri="{FF2B5EF4-FFF2-40B4-BE49-F238E27FC236}">
                  <a16:creationId xmlns:a16="http://schemas.microsoft.com/office/drawing/2014/main" id="{08C8B038-81EE-8752-193B-1CDB454C3EA9}"/>
                </a:ext>
              </a:extLst>
            </p:cNvPr>
            <p:cNvSpPr/>
            <p:nvPr/>
          </p:nvSpPr>
          <p:spPr>
            <a:xfrm>
              <a:off x="10438601" y="1520188"/>
              <a:ext cx="169972" cy="91929"/>
            </a:xfrm>
            <a:custGeom>
              <a:avLst/>
              <a:gdLst>
                <a:gd name="connsiteX0" fmla="*/ 0 w 169972"/>
                <a:gd name="connsiteY0" fmla="*/ 21706 h 91929"/>
                <a:gd name="connsiteX1" fmla="*/ 141217 w 169972"/>
                <a:gd name="connsiteY1" fmla="*/ 21706 h 91929"/>
                <a:gd name="connsiteX2" fmla="*/ 147607 w 169972"/>
                <a:gd name="connsiteY2" fmla="*/ 28089 h 91929"/>
                <a:gd name="connsiteX3" fmla="*/ 147607 w 169972"/>
                <a:gd name="connsiteY3" fmla="*/ 91929 h 91929"/>
                <a:gd name="connsiteX4" fmla="*/ 150164 w 169972"/>
                <a:gd name="connsiteY4" fmla="*/ 91291 h 91929"/>
                <a:gd name="connsiteX5" fmla="*/ 169972 w 169972"/>
                <a:gd name="connsiteY5" fmla="*/ 91291 h 91929"/>
                <a:gd name="connsiteX6" fmla="*/ 169972 w 169972"/>
                <a:gd name="connsiteY6" fmla="*/ 0 h 91929"/>
                <a:gd name="connsiteX7" fmla="*/ 0 w 169972"/>
                <a:gd name="connsiteY7" fmla="*/ 0 h 91929"/>
                <a:gd name="connsiteX8" fmla="*/ 0 w 169972"/>
                <a:gd name="connsiteY8" fmla="*/ 21706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72" h="91929">
                  <a:moveTo>
                    <a:pt x="0" y="21706"/>
                  </a:moveTo>
                  <a:lnTo>
                    <a:pt x="141217" y="21706"/>
                  </a:lnTo>
                  <a:cubicBezTo>
                    <a:pt x="145052" y="21706"/>
                    <a:pt x="147607" y="24259"/>
                    <a:pt x="147607" y="28089"/>
                  </a:cubicBezTo>
                  <a:lnTo>
                    <a:pt x="147607" y="91929"/>
                  </a:lnTo>
                  <a:cubicBezTo>
                    <a:pt x="148247" y="91929"/>
                    <a:pt x="148886" y="91291"/>
                    <a:pt x="150164" y="91291"/>
                  </a:cubicBezTo>
                  <a:lnTo>
                    <a:pt x="169972" y="91291"/>
                  </a:lnTo>
                  <a:lnTo>
                    <a:pt x="169972" y="0"/>
                  </a:lnTo>
                  <a:lnTo>
                    <a:pt x="0" y="0"/>
                  </a:lnTo>
                  <a:lnTo>
                    <a:pt x="0"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9" name="Graphic 4">
              <a:extLst>
                <a:ext uri="{FF2B5EF4-FFF2-40B4-BE49-F238E27FC236}">
                  <a16:creationId xmlns:a16="http://schemas.microsoft.com/office/drawing/2014/main" id="{CB8C538F-5F11-52EF-EE9E-8ACDF5A72EB7}"/>
                </a:ext>
              </a:extLst>
            </p:cNvPr>
            <p:cNvSpPr/>
            <p:nvPr/>
          </p:nvSpPr>
          <p:spPr>
            <a:xfrm>
              <a:off x="10324860"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6492 w 361670"/>
                <a:gd name="connsiteY5" fmla="*/ 215779 h 361333"/>
                <a:gd name="connsiteX6" fmla="*/ 290103 w 361670"/>
                <a:gd name="connsiteY6" fmla="*/ 222163 h 361333"/>
                <a:gd name="connsiteX7" fmla="*/ 263904 w 361670"/>
                <a:gd name="connsiteY7" fmla="*/ 222163 h 361333"/>
                <a:gd name="connsiteX8" fmla="*/ 261348 w 361670"/>
                <a:gd name="connsiteY8" fmla="*/ 221524 h 361333"/>
                <a:gd name="connsiteX9" fmla="*/ 261348 w 361670"/>
                <a:gd name="connsiteY9" fmla="*/ 250252 h 361333"/>
                <a:gd name="connsiteX10" fmla="*/ 254958 w 361670"/>
                <a:gd name="connsiteY10" fmla="*/ 256636 h 361333"/>
                <a:gd name="connsiteX11" fmla="*/ 72206 w 361670"/>
                <a:gd name="connsiteY11" fmla="*/ 256636 h 361333"/>
                <a:gd name="connsiteX12" fmla="*/ 65816 w 361670"/>
                <a:gd name="connsiteY12" fmla="*/ 250252 h 361333"/>
                <a:gd name="connsiteX13" fmla="*/ 65816 w 361670"/>
                <a:gd name="connsiteY13" fmla="*/ 146193 h 361333"/>
                <a:gd name="connsiteX14" fmla="*/ 72206 w 361670"/>
                <a:gd name="connsiteY14" fmla="*/ 139809 h 361333"/>
                <a:gd name="connsiteX15" fmla="*/ 100322 w 361670"/>
                <a:gd name="connsiteY15" fmla="*/ 139809 h 361333"/>
                <a:gd name="connsiteX16" fmla="*/ 100322 w 361670"/>
                <a:gd name="connsiteY16" fmla="*/ 111720 h 361333"/>
                <a:gd name="connsiteX17" fmla="*/ 106712 w 361670"/>
                <a:gd name="connsiteY17" fmla="*/ 105336 h 361333"/>
                <a:gd name="connsiteX18" fmla="*/ 289464 w 361670"/>
                <a:gd name="connsiteY18" fmla="*/ 105336 h 361333"/>
                <a:gd name="connsiteX19" fmla="*/ 295854 w 361670"/>
                <a:gd name="connsiteY19" fmla="*/ 111720 h 361333"/>
                <a:gd name="connsiteX20" fmla="*/ 295854 w 361670"/>
                <a:gd name="connsiteY20" fmla="*/ 21577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96492" y="215779"/>
                  </a:moveTo>
                  <a:cubicBezTo>
                    <a:pt x="296492" y="219609"/>
                    <a:pt x="293937" y="222163"/>
                    <a:pt x="290103" y="222163"/>
                  </a:cubicBezTo>
                  <a:lnTo>
                    <a:pt x="263904" y="222163"/>
                  </a:lnTo>
                  <a:cubicBezTo>
                    <a:pt x="263265" y="222163"/>
                    <a:pt x="262626" y="222163"/>
                    <a:pt x="261348" y="221524"/>
                  </a:cubicBezTo>
                  <a:lnTo>
                    <a:pt x="261348" y="250252"/>
                  </a:lnTo>
                  <a:cubicBezTo>
                    <a:pt x="261348" y="254082"/>
                    <a:pt x="258792" y="256636"/>
                    <a:pt x="254958" y="256636"/>
                  </a:cubicBezTo>
                  <a:lnTo>
                    <a:pt x="72206" y="256636"/>
                  </a:lnTo>
                  <a:cubicBezTo>
                    <a:pt x="68372" y="256636"/>
                    <a:pt x="65816" y="254082"/>
                    <a:pt x="65816" y="250252"/>
                  </a:cubicBezTo>
                  <a:lnTo>
                    <a:pt x="65816" y="146193"/>
                  </a:lnTo>
                  <a:cubicBezTo>
                    <a:pt x="65816" y="142363"/>
                    <a:pt x="68372" y="139809"/>
                    <a:pt x="72206" y="139809"/>
                  </a:cubicBezTo>
                  <a:lnTo>
                    <a:pt x="100322" y="139809"/>
                  </a:lnTo>
                  <a:lnTo>
                    <a:pt x="100322" y="111720"/>
                  </a:lnTo>
                  <a:cubicBezTo>
                    <a:pt x="100322" y="107889"/>
                    <a:pt x="102878" y="105336"/>
                    <a:pt x="106712" y="105336"/>
                  </a:cubicBezTo>
                  <a:lnTo>
                    <a:pt x="289464" y="105336"/>
                  </a:lnTo>
                  <a:cubicBezTo>
                    <a:pt x="293298" y="105336"/>
                    <a:pt x="295854" y="107889"/>
                    <a:pt x="295854" y="111720"/>
                  </a:cubicBezTo>
                  <a:lnTo>
                    <a:pt x="295854" y="21577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cxnSp>
        <p:nvCxnSpPr>
          <p:cNvPr id="30" name="Straight Connector 29">
            <a:extLst>
              <a:ext uri="{FF2B5EF4-FFF2-40B4-BE49-F238E27FC236}">
                <a16:creationId xmlns:a16="http://schemas.microsoft.com/office/drawing/2014/main" id="{B054405F-E1D0-71A1-2245-9D7FF5929658}"/>
              </a:ext>
            </a:extLst>
          </p:cNvPr>
          <p:cNvCxnSpPr>
            <a:cxnSpLocks/>
          </p:cNvCxnSpPr>
          <p:nvPr/>
        </p:nvCxnSpPr>
        <p:spPr>
          <a:xfrm>
            <a:off x="2293868" y="5397194"/>
            <a:ext cx="633997" cy="1540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E6FA7C6-C3F1-EA61-D5CA-5C1EEFB36C06}"/>
              </a:ext>
            </a:extLst>
          </p:cNvPr>
          <p:cNvCxnSpPr>
            <a:cxnSpLocks/>
          </p:cNvCxnSpPr>
          <p:nvPr/>
        </p:nvCxnSpPr>
        <p:spPr>
          <a:xfrm>
            <a:off x="3523388" y="5381794"/>
            <a:ext cx="633997" cy="1540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box 38">
            <a:extLst>
              <a:ext uri="{FF2B5EF4-FFF2-40B4-BE49-F238E27FC236}">
                <a16:creationId xmlns:a16="http://schemas.microsoft.com/office/drawing/2014/main" id="{771AB770-AC34-ACF3-24A6-158689F822B8}"/>
              </a:ext>
            </a:extLst>
          </p:cNvPr>
          <p:cNvSpPr txBox="1"/>
          <p:nvPr/>
        </p:nvSpPr>
        <p:spPr>
          <a:xfrm>
            <a:off x="3187210" y="5961822"/>
            <a:ext cx="1722335" cy="139007"/>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ΕΧΕ</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33" name="Straight Arrow Connector 32">
            <a:extLst>
              <a:ext uri="{FF2B5EF4-FFF2-40B4-BE49-F238E27FC236}">
                <a16:creationId xmlns:a16="http://schemas.microsoft.com/office/drawing/2014/main" id="{A19B6010-3DB0-759E-1E56-DEBB836484A9}"/>
              </a:ext>
            </a:extLst>
          </p:cNvPr>
          <p:cNvCxnSpPr>
            <a:cxnSpLocks/>
          </p:cNvCxnSpPr>
          <p:nvPr/>
        </p:nvCxnSpPr>
        <p:spPr>
          <a:xfrm>
            <a:off x="1254791" y="2749517"/>
            <a:ext cx="3833043" cy="0"/>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8">
            <a:extLst>
              <a:ext uri="{FF2B5EF4-FFF2-40B4-BE49-F238E27FC236}">
                <a16:creationId xmlns:a16="http://schemas.microsoft.com/office/drawing/2014/main" id="{74EF5812-A956-D514-501D-3273B4503D09}"/>
              </a:ext>
            </a:extLst>
          </p:cNvPr>
          <p:cNvSpPr txBox="1"/>
          <p:nvPr/>
        </p:nvSpPr>
        <p:spPr>
          <a:xfrm>
            <a:off x="2357122" y="2822884"/>
            <a:ext cx="3820280" cy="313231"/>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Εγγύηση Προέλευσης/ </a:t>
            </a:r>
          </a:p>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Πιστοποιητικό Ανανεώσιμων Πηγών</a:t>
            </a:r>
            <a:endPar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35" name="Connector: Elbow 34">
            <a:extLst>
              <a:ext uri="{FF2B5EF4-FFF2-40B4-BE49-F238E27FC236}">
                <a16:creationId xmlns:a16="http://schemas.microsoft.com/office/drawing/2014/main" id="{F61CE7E0-BA10-1521-9E2B-657F6C1AD926}"/>
              </a:ext>
            </a:extLst>
          </p:cNvPr>
          <p:cNvCxnSpPr>
            <a:cxnSpLocks/>
          </p:cNvCxnSpPr>
          <p:nvPr/>
        </p:nvCxnSpPr>
        <p:spPr>
          <a:xfrm rot="5400000">
            <a:off x="4514072" y="4800424"/>
            <a:ext cx="1026244" cy="615907"/>
          </a:xfrm>
          <a:prstGeom prst="bentConnector3">
            <a:avLst>
              <a:gd name="adj1" fmla="val 100754"/>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aphic 4">
            <a:extLst>
              <a:ext uri="{FF2B5EF4-FFF2-40B4-BE49-F238E27FC236}">
                <a16:creationId xmlns:a16="http://schemas.microsoft.com/office/drawing/2014/main" id="{D83DF148-4F43-D9C2-C89F-C2B3960B6CB8}"/>
              </a:ext>
            </a:extLst>
          </p:cNvPr>
          <p:cNvGrpSpPr/>
          <p:nvPr/>
        </p:nvGrpSpPr>
        <p:grpSpPr>
          <a:xfrm>
            <a:off x="5421446" y="5060044"/>
            <a:ext cx="388310" cy="446646"/>
            <a:chOff x="10324860" y="1402085"/>
            <a:chExt cx="361670" cy="361333"/>
          </a:xfrm>
          <a:solidFill>
            <a:schemeClr val="accent4"/>
          </a:solidFill>
        </p:grpSpPr>
        <p:sp>
          <p:nvSpPr>
            <p:cNvPr id="48" name="Graphic 4">
              <a:extLst>
                <a:ext uri="{FF2B5EF4-FFF2-40B4-BE49-F238E27FC236}">
                  <a16:creationId xmlns:a16="http://schemas.microsoft.com/office/drawing/2014/main" id="{4E83B039-EF0C-4CBB-ADDD-36CBECC99AA4}"/>
                </a:ext>
              </a:extLst>
            </p:cNvPr>
            <p:cNvSpPr/>
            <p:nvPr/>
          </p:nvSpPr>
          <p:spPr>
            <a:xfrm>
              <a:off x="10403456" y="1554662"/>
              <a:ext cx="169972" cy="91291"/>
            </a:xfrm>
            <a:custGeom>
              <a:avLst/>
              <a:gdLst>
                <a:gd name="connsiteX0" fmla="*/ 0 w 169972"/>
                <a:gd name="connsiteY0" fmla="*/ 0 h 91291"/>
                <a:gd name="connsiteX1" fmla="*/ 0 w 169972"/>
                <a:gd name="connsiteY1" fmla="*/ 91291 h 91291"/>
                <a:gd name="connsiteX2" fmla="*/ 169972 w 169972"/>
                <a:gd name="connsiteY2" fmla="*/ 91291 h 91291"/>
                <a:gd name="connsiteX3" fmla="*/ 169972 w 169972"/>
                <a:gd name="connsiteY3" fmla="*/ 0 h 91291"/>
                <a:gd name="connsiteX4" fmla="*/ 0 w 169972"/>
                <a:gd name="connsiteY4" fmla="*/ 0 h 91291"/>
                <a:gd name="connsiteX5" fmla="*/ 84986 w 169972"/>
                <a:gd name="connsiteY5" fmla="*/ 51072 h 91291"/>
                <a:gd name="connsiteX6" fmla="*/ 68373 w 169972"/>
                <a:gd name="connsiteY6" fmla="*/ 34474 h 91291"/>
                <a:gd name="connsiteX7" fmla="*/ 80513 w 169972"/>
                <a:gd name="connsiteY7" fmla="*/ 18514 h 91291"/>
                <a:gd name="connsiteX8" fmla="*/ 80513 w 169972"/>
                <a:gd name="connsiteY8" fmla="*/ 14683 h 91291"/>
                <a:gd name="connsiteX9" fmla="*/ 85625 w 169972"/>
                <a:gd name="connsiteY9" fmla="*/ 9576 h 91291"/>
                <a:gd name="connsiteX10" fmla="*/ 90738 w 169972"/>
                <a:gd name="connsiteY10" fmla="*/ 14683 h 91291"/>
                <a:gd name="connsiteX11" fmla="*/ 90738 w 169972"/>
                <a:gd name="connsiteY11" fmla="*/ 18514 h 91291"/>
                <a:gd name="connsiteX12" fmla="*/ 102878 w 169972"/>
                <a:gd name="connsiteY12" fmla="*/ 34474 h 91291"/>
                <a:gd name="connsiteX13" fmla="*/ 97766 w 169972"/>
                <a:gd name="connsiteY13" fmla="*/ 39581 h 91291"/>
                <a:gd name="connsiteX14" fmla="*/ 92654 w 169972"/>
                <a:gd name="connsiteY14" fmla="*/ 34474 h 91291"/>
                <a:gd name="connsiteX15" fmla="*/ 85625 w 169972"/>
                <a:gd name="connsiteY15" fmla="*/ 27451 h 91291"/>
                <a:gd name="connsiteX16" fmla="*/ 78597 w 169972"/>
                <a:gd name="connsiteY16" fmla="*/ 34474 h 91291"/>
                <a:gd name="connsiteX17" fmla="*/ 85625 w 169972"/>
                <a:gd name="connsiteY17" fmla="*/ 41496 h 91291"/>
                <a:gd name="connsiteX18" fmla="*/ 102239 w 169972"/>
                <a:gd name="connsiteY18" fmla="*/ 58094 h 91291"/>
                <a:gd name="connsiteX19" fmla="*/ 90098 w 169972"/>
                <a:gd name="connsiteY19" fmla="*/ 74054 h 91291"/>
                <a:gd name="connsiteX20" fmla="*/ 90098 w 169972"/>
                <a:gd name="connsiteY20" fmla="*/ 77885 h 91291"/>
                <a:gd name="connsiteX21" fmla="*/ 84986 w 169972"/>
                <a:gd name="connsiteY21" fmla="*/ 82992 h 91291"/>
                <a:gd name="connsiteX22" fmla="*/ 79874 w 169972"/>
                <a:gd name="connsiteY22" fmla="*/ 77885 h 91291"/>
                <a:gd name="connsiteX23" fmla="*/ 79874 w 169972"/>
                <a:gd name="connsiteY23" fmla="*/ 74054 h 91291"/>
                <a:gd name="connsiteX24" fmla="*/ 67733 w 169972"/>
                <a:gd name="connsiteY24" fmla="*/ 58094 h 91291"/>
                <a:gd name="connsiteX25" fmla="*/ 72845 w 169972"/>
                <a:gd name="connsiteY25" fmla="*/ 52987 h 91291"/>
                <a:gd name="connsiteX26" fmla="*/ 77958 w 169972"/>
                <a:gd name="connsiteY26" fmla="*/ 58094 h 91291"/>
                <a:gd name="connsiteX27" fmla="*/ 84986 w 169972"/>
                <a:gd name="connsiteY27" fmla="*/ 65117 h 91291"/>
                <a:gd name="connsiteX28" fmla="*/ 92015 w 169972"/>
                <a:gd name="connsiteY28" fmla="*/ 58094 h 91291"/>
                <a:gd name="connsiteX29" fmla="*/ 84986 w 169972"/>
                <a:gd name="connsiteY29" fmla="*/ 51072 h 9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9972" h="91291">
                  <a:moveTo>
                    <a:pt x="0" y="0"/>
                  </a:moveTo>
                  <a:lnTo>
                    <a:pt x="0" y="91291"/>
                  </a:lnTo>
                  <a:lnTo>
                    <a:pt x="169972" y="91291"/>
                  </a:lnTo>
                  <a:lnTo>
                    <a:pt x="169972" y="0"/>
                  </a:lnTo>
                  <a:lnTo>
                    <a:pt x="0" y="0"/>
                  </a:lnTo>
                  <a:close/>
                  <a:moveTo>
                    <a:pt x="84986" y="51072"/>
                  </a:moveTo>
                  <a:cubicBezTo>
                    <a:pt x="76040" y="51072"/>
                    <a:pt x="68373" y="43411"/>
                    <a:pt x="68373" y="34474"/>
                  </a:cubicBezTo>
                  <a:cubicBezTo>
                    <a:pt x="68373" y="26813"/>
                    <a:pt x="73484" y="20429"/>
                    <a:pt x="80513" y="18514"/>
                  </a:cubicBezTo>
                  <a:lnTo>
                    <a:pt x="80513" y="14683"/>
                  </a:lnTo>
                  <a:cubicBezTo>
                    <a:pt x="80513" y="12130"/>
                    <a:pt x="82430" y="9576"/>
                    <a:pt x="85625" y="9576"/>
                  </a:cubicBezTo>
                  <a:cubicBezTo>
                    <a:pt x="88820" y="9576"/>
                    <a:pt x="90738" y="11491"/>
                    <a:pt x="90738" y="14683"/>
                  </a:cubicBezTo>
                  <a:lnTo>
                    <a:pt x="90738" y="18514"/>
                  </a:lnTo>
                  <a:cubicBezTo>
                    <a:pt x="97766" y="20429"/>
                    <a:pt x="102878" y="26813"/>
                    <a:pt x="102878" y="34474"/>
                  </a:cubicBezTo>
                  <a:cubicBezTo>
                    <a:pt x="102878" y="37027"/>
                    <a:pt x="100961" y="39581"/>
                    <a:pt x="97766" y="39581"/>
                  </a:cubicBezTo>
                  <a:cubicBezTo>
                    <a:pt x="94571" y="39581"/>
                    <a:pt x="92654" y="37666"/>
                    <a:pt x="92654" y="34474"/>
                  </a:cubicBezTo>
                  <a:cubicBezTo>
                    <a:pt x="92654" y="30643"/>
                    <a:pt x="89459" y="27451"/>
                    <a:pt x="85625" y="27451"/>
                  </a:cubicBezTo>
                  <a:cubicBezTo>
                    <a:pt x="81792" y="27451"/>
                    <a:pt x="78597" y="30643"/>
                    <a:pt x="78597" y="34474"/>
                  </a:cubicBezTo>
                  <a:cubicBezTo>
                    <a:pt x="78597" y="38304"/>
                    <a:pt x="81792" y="41496"/>
                    <a:pt x="85625" y="41496"/>
                  </a:cubicBezTo>
                  <a:cubicBezTo>
                    <a:pt x="95210" y="41496"/>
                    <a:pt x="102239" y="49157"/>
                    <a:pt x="102239" y="58094"/>
                  </a:cubicBezTo>
                  <a:cubicBezTo>
                    <a:pt x="102239" y="65755"/>
                    <a:pt x="97128" y="72139"/>
                    <a:pt x="90098" y="74054"/>
                  </a:cubicBezTo>
                  <a:lnTo>
                    <a:pt x="90098" y="77885"/>
                  </a:lnTo>
                  <a:cubicBezTo>
                    <a:pt x="90098" y="80438"/>
                    <a:pt x="88181" y="82992"/>
                    <a:pt x="84986" y="82992"/>
                  </a:cubicBezTo>
                  <a:cubicBezTo>
                    <a:pt x="81792" y="82992"/>
                    <a:pt x="79874" y="81077"/>
                    <a:pt x="79874" y="77885"/>
                  </a:cubicBezTo>
                  <a:lnTo>
                    <a:pt x="79874" y="74054"/>
                  </a:lnTo>
                  <a:cubicBezTo>
                    <a:pt x="72845" y="72139"/>
                    <a:pt x="67733" y="65755"/>
                    <a:pt x="67733" y="58094"/>
                  </a:cubicBezTo>
                  <a:cubicBezTo>
                    <a:pt x="67733" y="55541"/>
                    <a:pt x="69650" y="52987"/>
                    <a:pt x="72845" y="52987"/>
                  </a:cubicBezTo>
                  <a:cubicBezTo>
                    <a:pt x="76040" y="52987"/>
                    <a:pt x="77958" y="54902"/>
                    <a:pt x="77958" y="58094"/>
                  </a:cubicBezTo>
                  <a:cubicBezTo>
                    <a:pt x="77958" y="61925"/>
                    <a:pt x="81153" y="65117"/>
                    <a:pt x="84986" y="65117"/>
                  </a:cubicBezTo>
                  <a:cubicBezTo>
                    <a:pt x="88820" y="65117"/>
                    <a:pt x="92015" y="61925"/>
                    <a:pt x="92015" y="58094"/>
                  </a:cubicBezTo>
                  <a:cubicBezTo>
                    <a:pt x="92654" y="54264"/>
                    <a:pt x="88820" y="51072"/>
                    <a:pt x="84986" y="5107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Graphic 4">
              <a:extLst>
                <a:ext uri="{FF2B5EF4-FFF2-40B4-BE49-F238E27FC236}">
                  <a16:creationId xmlns:a16="http://schemas.microsoft.com/office/drawing/2014/main" id="{D2BBB705-51B3-5F64-95E2-06D825F43673}"/>
                </a:ext>
              </a:extLst>
            </p:cNvPr>
            <p:cNvSpPr/>
            <p:nvPr/>
          </p:nvSpPr>
          <p:spPr>
            <a:xfrm>
              <a:off x="10438601" y="1520188"/>
              <a:ext cx="169972" cy="91929"/>
            </a:xfrm>
            <a:custGeom>
              <a:avLst/>
              <a:gdLst>
                <a:gd name="connsiteX0" fmla="*/ 0 w 169972"/>
                <a:gd name="connsiteY0" fmla="*/ 21706 h 91929"/>
                <a:gd name="connsiteX1" fmla="*/ 141217 w 169972"/>
                <a:gd name="connsiteY1" fmla="*/ 21706 h 91929"/>
                <a:gd name="connsiteX2" fmla="*/ 147607 w 169972"/>
                <a:gd name="connsiteY2" fmla="*/ 28089 h 91929"/>
                <a:gd name="connsiteX3" fmla="*/ 147607 w 169972"/>
                <a:gd name="connsiteY3" fmla="*/ 91929 h 91929"/>
                <a:gd name="connsiteX4" fmla="*/ 150164 w 169972"/>
                <a:gd name="connsiteY4" fmla="*/ 91291 h 91929"/>
                <a:gd name="connsiteX5" fmla="*/ 169972 w 169972"/>
                <a:gd name="connsiteY5" fmla="*/ 91291 h 91929"/>
                <a:gd name="connsiteX6" fmla="*/ 169972 w 169972"/>
                <a:gd name="connsiteY6" fmla="*/ 0 h 91929"/>
                <a:gd name="connsiteX7" fmla="*/ 0 w 169972"/>
                <a:gd name="connsiteY7" fmla="*/ 0 h 91929"/>
                <a:gd name="connsiteX8" fmla="*/ 0 w 169972"/>
                <a:gd name="connsiteY8" fmla="*/ 21706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72" h="91929">
                  <a:moveTo>
                    <a:pt x="0" y="21706"/>
                  </a:moveTo>
                  <a:lnTo>
                    <a:pt x="141217" y="21706"/>
                  </a:lnTo>
                  <a:cubicBezTo>
                    <a:pt x="145052" y="21706"/>
                    <a:pt x="147607" y="24259"/>
                    <a:pt x="147607" y="28089"/>
                  </a:cubicBezTo>
                  <a:lnTo>
                    <a:pt x="147607" y="91929"/>
                  </a:lnTo>
                  <a:cubicBezTo>
                    <a:pt x="148247" y="91929"/>
                    <a:pt x="148886" y="91291"/>
                    <a:pt x="150164" y="91291"/>
                  </a:cubicBezTo>
                  <a:lnTo>
                    <a:pt x="169972" y="91291"/>
                  </a:lnTo>
                  <a:lnTo>
                    <a:pt x="169972" y="0"/>
                  </a:lnTo>
                  <a:lnTo>
                    <a:pt x="0" y="0"/>
                  </a:lnTo>
                  <a:lnTo>
                    <a:pt x="0"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8" name="Graphic 4">
              <a:extLst>
                <a:ext uri="{FF2B5EF4-FFF2-40B4-BE49-F238E27FC236}">
                  <a16:creationId xmlns:a16="http://schemas.microsoft.com/office/drawing/2014/main" id="{A84F82C9-1AC6-CF33-F692-89231F7591DF}"/>
                </a:ext>
              </a:extLst>
            </p:cNvPr>
            <p:cNvSpPr/>
            <p:nvPr/>
          </p:nvSpPr>
          <p:spPr>
            <a:xfrm>
              <a:off x="10324860"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6492 w 361670"/>
                <a:gd name="connsiteY5" fmla="*/ 215779 h 361333"/>
                <a:gd name="connsiteX6" fmla="*/ 290103 w 361670"/>
                <a:gd name="connsiteY6" fmla="*/ 222163 h 361333"/>
                <a:gd name="connsiteX7" fmla="*/ 263904 w 361670"/>
                <a:gd name="connsiteY7" fmla="*/ 222163 h 361333"/>
                <a:gd name="connsiteX8" fmla="*/ 261348 w 361670"/>
                <a:gd name="connsiteY8" fmla="*/ 221524 h 361333"/>
                <a:gd name="connsiteX9" fmla="*/ 261348 w 361670"/>
                <a:gd name="connsiteY9" fmla="*/ 250252 h 361333"/>
                <a:gd name="connsiteX10" fmla="*/ 254958 w 361670"/>
                <a:gd name="connsiteY10" fmla="*/ 256636 h 361333"/>
                <a:gd name="connsiteX11" fmla="*/ 72206 w 361670"/>
                <a:gd name="connsiteY11" fmla="*/ 256636 h 361333"/>
                <a:gd name="connsiteX12" fmla="*/ 65816 w 361670"/>
                <a:gd name="connsiteY12" fmla="*/ 250252 h 361333"/>
                <a:gd name="connsiteX13" fmla="*/ 65816 w 361670"/>
                <a:gd name="connsiteY13" fmla="*/ 146193 h 361333"/>
                <a:gd name="connsiteX14" fmla="*/ 72206 w 361670"/>
                <a:gd name="connsiteY14" fmla="*/ 139809 h 361333"/>
                <a:gd name="connsiteX15" fmla="*/ 100322 w 361670"/>
                <a:gd name="connsiteY15" fmla="*/ 139809 h 361333"/>
                <a:gd name="connsiteX16" fmla="*/ 100322 w 361670"/>
                <a:gd name="connsiteY16" fmla="*/ 111720 h 361333"/>
                <a:gd name="connsiteX17" fmla="*/ 106712 w 361670"/>
                <a:gd name="connsiteY17" fmla="*/ 105336 h 361333"/>
                <a:gd name="connsiteX18" fmla="*/ 289464 w 361670"/>
                <a:gd name="connsiteY18" fmla="*/ 105336 h 361333"/>
                <a:gd name="connsiteX19" fmla="*/ 295854 w 361670"/>
                <a:gd name="connsiteY19" fmla="*/ 111720 h 361333"/>
                <a:gd name="connsiteX20" fmla="*/ 295854 w 361670"/>
                <a:gd name="connsiteY20" fmla="*/ 21577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96492" y="215779"/>
                  </a:moveTo>
                  <a:cubicBezTo>
                    <a:pt x="296492" y="219609"/>
                    <a:pt x="293937" y="222163"/>
                    <a:pt x="290103" y="222163"/>
                  </a:cubicBezTo>
                  <a:lnTo>
                    <a:pt x="263904" y="222163"/>
                  </a:lnTo>
                  <a:cubicBezTo>
                    <a:pt x="263265" y="222163"/>
                    <a:pt x="262626" y="222163"/>
                    <a:pt x="261348" y="221524"/>
                  </a:cubicBezTo>
                  <a:lnTo>
                    <a:pt x="261348" y="250252"/>
                  </a:lnTo>
                  <a:cubicBezTo>
                    <a:pt x="261348" y="254082"/>
                    <a:pt x="258792" y="256636"/>
                    <a:pt x="254958" y="256636"/>
                  </a:cubicBezTo>
                  <a:lnTo>
                    <a:pt x="72206" y="256636"/>
                  </a:lnTo>
                  <a:cubicBezTo>
                    <a:pt x="68372" y="256636"/>
                    <a:pt x="65816" y="254082"/>
                    <a:pt x="65816" y="250252"/>
                  </a:cubicBezTo>
                  <a:lnTo>
                    <a:pt x="65816" y="146193"/>
                  </a:lnTo>
                  <a:cubicBezTo>
                    <a:pt x="65816" y="142363"/>
                    <a:pt x="68372" y="139809"/>
                    <a:pt x="72206" y="139809"/>
                  </a:cubicBezTo>
                  <a:lnTo>
                    <a:pt x="100322" y="139809"/>
                  </a:lnTo>
                  <a:lnTo>
                    <a:pt x="100322" y="111720"/>
                  </a:lnTo>
                  <a:cubicBezTo>
                    <a:pt x="100322" y="107889"/>
                    <a:pt x="102878" y="105336"/>
                    <a:pt x="106712" y="105336"/>
                  </a:cubicBezTo>
                  <a:lnTo>
                    <a:pt x="289464" y="105336"/>
                  </a:lnTo>
                  <a:cubicBezTo>
                    <a:pt x="293298" y="105336"/>
                    <a:pt x="295854" y="107889"/>
                    <a:pt x="295854" y="111720"/>
                  </a:cubicBezTo>
                  <a:lnTo>
                    <a:pt x="295854" y="21577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cxnSp>
        <p:nvCxnSpPr>
          <p:cNvPr id="59" name="Connector: Elbow 58">
            <a:extLst>
              <a:ext uri="{FF2B5EF4-FFF2-40B4-BE49-F238E27FC236}">
                <a16:creationId xmlns:a16="http://schemas.microsoft.com/office/drawing/2014/main" id="{9FCE4C5A-0618-0879-C29F-28693D3A3E84}"/>
              </a:ext>
            </a:extLst>
          </p:cNvPr>
          <p:cNvCxnSpPr/>
          <p:nvPr/>
        </p:nvCxnSpPr>
        <p:spPr>
          <a:xfrm rot="16200000" flipV="1">
            <a:off x="855767" y="4738984"/>
            <a:ext cx="1033746" cy="731286"/>
          </a:xfrm>
          <a:prstGeom prst="bentConnector3">
            <a:avLst>
              <a:gd name="adj1" fmla="val 734"/>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63" name="Graphic 4">
            <a:extLst>
              <a:ext uri="{FF2B5EF4-FFF2-40B4-BE49-F238E27FC236}">
                <a16:creationId xmlns:a16="http://schemas.microsoft.com/office/drawing/2014/main" id="{2EBDA6BE-27E6-149F-D52C-D2CBAAF884A8}"/>
              </a:ext>
            </a:extLst>
          </p:cNvPr>
          <p:cNvGrpSpPr/>
          <p:nvPr/>
        </p:nvGrpSpPr>
        <p:grpSpPr>
          <a:xfrm>
            <a:off x="575824" y="4914844"/>
            <a:ext cx="388310" cy="446646"/>
            <a:chOff x="10324860" y="1402085"/>
            <a:chExt cx="361670" cy="361333"/>
          </a:xfrm>
          <a:solidFill>
            <a:schemeClr val="accent4"/>
          </a:solidFill>
        </p:grpSpPr>
        <p:sp>
          <p:nvSpPr>
            <p:cNvPr id="64" name="Graphic 4">
              <a:extLst>
                <a:ext uri="{FF2B5EF4-FFF2-40B4-BE49-F238E27FC236}">
                  <a16:creationId xmlns:a16="http://schemas.microsoft.com/office/drawing/2014/main" id="{5AF79A5E-81A7-DE60-13F3-4874A1FF2C81}"/>
                </a:ext>
              </a:extLst>
            </p:cNvPr>
            <p:cNvSpPr/>
            <p:nvPr/>
          </p:nvSpPr>
          <p:spPr>
            <a:xfrm>
              <a:off x="10403456" y="1554662"/>
              <a:ext cx="169972" cy="91291"/>
            </a:xfrm>
            <a:custGeom>
              <a:avLst/>
              <a:gdLst>
                <a:gd name="connsiteX0" fmla="*/ 0 w 169972"/>
                <a:gd name="connsiteY0" fmla="*/ 0 h 91291"/>
                <a:gd name="connsiteX1" fmla="*/ 0 w 169972"/>
                <a:gd name="connsiteY1" fmla="*/ 91291 h 91291"/>
                <a:gd name="connsiteX2" fmla="*/ 169972 w 169972"/>
                <a:gd name="connsiteY2" fmla="*/ 91291 h 91291"/>
                <a:gd name="connsiteX3" fmla="*/ 169972 w 169972"/>
                <a:gd name="connsiteY3" fmla="*/ 0 h 91291"/>
                <a:gd name="connsiteX4" fmla="*/ 0 w 169972"/>
                <a:gd name="connsiteY4" fmla="*/ 0 h 91291"/>
                <a:gd name="connsiteX5" fmla="*/ 84986 w 169972"/>
                <a:gd name="connsiteY5" fmla="*/ 51072 h 91291"/>
                <a:gd name="connsiteX6" fmla="*/ 68373 w 169972"/>
                <a:gd name="connsiteY6" fmla="*/ 34474 h 91291"/>
                <a:gd name="connsiteX7" fmla="*/ 80513 w 169972"/>
                <a:gd name="connsiteY7" fmla="*/ 18514 h 91291"/>
                <a:gd name="connsiteX8" fmla="*/ 80513 w 169972"/>
                <a:gd name="connsiteY8" fmla="*/ 14683 h 91291"/>
                <a:gd name="connsiteX9" fmla="*/ 85625 w 169972"/>
                <a:gd name="connsiteY9" fmla="*/ 9576 h 91291"/>
                <a:gd name="connsiteX10" fmla="*/ 90738 w 169972"/>
                <a:gd name="connsiteY10" fmla="*/ 14683 h 91291"/>
                <a:gd name="connsiteX11" fmla="*/ 90738 w 169972"/>
                <a:gd name="connsiteY11" fmla="*/ 18514 h 91291"/>
                <a:gd name="connsiteX12" fmla="*/ 102878 w 169972"/>
                <a:gd name="connsiteY12" fmla="*/ 34474 h 91291"/>
                <a:gd name="connsiteX13" fmla="*/ 97766 w 169972"/>
                <a:gd name="connsiteY13" fmla="*/ 39581 h 91291"/>
                <a:gd name="connsiteX14" fmla="*/ 92654 w 169972"/>
                <a:gd name="connsiteY14" fmla="*/ 34474 h 91291"/>
                <a:gd name="connsiteX15" fmla="*/ 85625 w 169972"/>
                <a:gd name="connsiteY15" fmla="*/ 27451 h 91291"/>
                <a:gd name="connsiteX16" fmla="*/ 78597 w 169972"/>
                <a:gd name="connsiteY16" fmla="*/ 34474 h 91291"/>
                <a:gd name="connsiteX17" fmla="*/ 85625 w 169972"/>
                <a:gd name="connsiteY17" fmla="*/ 41496 h 91291"/>
                <a:gd name="connsiteX18" fmla="*/ 102239 w 169972"/>
                <a:gd name="connsiteY18" fmla="*/ 58094 h 91291"/>
                <a:gd name="connsiteX19" fmla="*/ 90098 w 169972"/>
                <a:gd name="connsiteY19" fmla="*/ 74054 h 91291"/>
                <a:gd name="connsiteX20" fmla="*/ 90098 w 169972"/>
                <a:gd name="connsiteY20" fmla="*/ 77885 h 91291"/>
                <a:gd name="connsiteX21" fmla="*/ 84986 w 169972"/>
                <a:gd name="connsiteY21" fmla="*/ 82992 h 91291"/>
                <a:gd name="connsiteX22" fmla="*/ 79874 w 169972"/>
                <a:gd name="connsiteY22" fmla="*/ 77885 h 91291"/>
                <a:gd name="connsiteX23" fmla="*/ 79874 w 169972"/>
                <a:gd name="connsiteY23" fmla="*/ 74054 h 91291"/>
                <a:gd name="connsiteX24" fmla="*/ 67733 w 169972"/>
                <a:gd name="connsiteY24" fmla="*/ 58094 h 91291"/>
                <a:gd name="connsiteX25" fmla="*/ 72845 w 169972"/>
                <a:gd name="connsiteY25" fmla="*/ 52987 h 91291"/>
                <a:gd name="connsiteX26" fmla="*/ 77958 w 169972"/>
                <a:gd name="connsiteY26" fmla="*/ 58094 h 91291"/>
                <a:gd name="connsiteX27" fmla="*/ 84986 w 169972"/>
                <a:gd name="connsiteY27" fmla="*/ 65117 h 91291"/>
                <a:gd name="connsiteX28" fmla="*/ 92015 w 169972"/>
                <a:gd name="connsiteY28" fmla="*/ 58094 h 91291"/>
                <a:gd name="connsiteX29" fmla="*/ 84986 w 169972"/>
                <a:gd name="connsiteY29" fmla="*/ 51072 h 9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9972" h="91291">
                  <a:moveTo>
                    <a:pt x="0" y="0"/>
                  </a:moveTo>
                  <a:lnTo>
                    <a:pt x="0" y="91291"/>
                  </a:lnTo>
                  <a:lnTo>
                    <a:pt x="169972" y="91291"/>
                  </a:lnTo>
                  <a:lnTo>
                    <a:pt x="169972" y="0"/>
                  </a:lnTo>
                  <a:lnTo>
                    <a:pt x="0" y="0"/>
                  </a:lnTo>
                  <a:close/>
                  <a:moveTo>
                    <a:pt x="84986" y="51072"/>
                  </a:moveTo>
                  <a:cubicBezTo>
                    <a:pt x="76040" y="51072"/>
                    <a:pt x="68373" y="43411"/>
                    <a:pt x="68373" y="34474"/>
                  </a:cubicBezTo>
                  <a:cubicBezTo>
                    <a:pt x="68373" y="26813"/>
                    <a:pt x="73484" y="20429"/>
                    <a:pt x="80513" y="18514"/>
                  </a:cubicBezTo>
                  <a:lnTo>
                    <a:pt x="80513" y="14683"/>
                  </a:lnTo>
                  <a:cubicBezTo>
                    <a:pt x="80513" y="12130"/>
                    <a:pt x="82430" y="9576"/>
                    <a:pt x="85625" y="9576"/>
                  </a:cubicBezTo>
                  <a:cubicBezTo>
                    <a:pt x="88820" y="9576"/>
                    <a:pt x="90738" y="11491"/>
                    <a:pt x="90738" y="14683"/>
                  </a:cubicBezTo>
                  <a:lnTo>
                    <a:pt x="90738" y="18514"/>
                  </a:lnTo>
                  <a:cubicBezTo>
                    <a:pt x="97766" y="20429"/>
                    <a:pt x="102878" y="26813"/>
                    <a:pt x="102878" y="34474"/>
                  </a:cubicBezTo>
                  <a:cubicBezTo>
                    <a:pt x="102878" y="37027"/>
                    <a:pt x="100961" y="39581"/>
                    <a:pt x="97766" y="39581"/>
                  </a:cubicBezTo>
                  <a:cubicBezTo>
                    <a:pt x="94571" y="39581"/>
                    <a:pt x="92654" y="37666"/>
                    <a:pt x="92654" y="34474"/>
                  </a:cubicBezTo>
                  <a:cubicBezTo>
                    <a:pt x="92654" y="30643"/>
                    <a:pt x="89459" y="27451"/>
                    <a:pt x="85625" y="27451"/>
                  </a:cubicBezTo>
                  <a:cubicBezTo>
                    <a:pt x="81792" y="27451"/>
                    <a:pt x="78597" y="30643"/>
                    <a:pt x="78597" y="34474"/>
                  </a:cubicBezTo>
                  <a:cubicBezTo>
                    <a:pt x="78597" y="38304"/>
                    <a:pt x="81792" y="41496"/>
                    <a:pt x="85625" y="41496"/>
                  </a:cubicBezTo>
                  <a:cubicBezTo>
                    <a:pt x="95210" y="41496"/>
                    <a:pt x="102239" y="49157"/>
                    <a:pt x="102239" y="58094"/>
                  </a:cubicBezTo>
                  <a:cubicBezTo>
                    <a:pt x="102239" y="65755"/>
                    <a:pt x="97128" y="72139"/>
                    <a:pt x="90098" y="74054"/>
                  </a:cubicBezTo>
                  <a:lnTo>
                    <a:pt x="90098" y="77885"/>
                  </a:lnTo>
                  <a:cubicBezTo>
                    <a:pt x="90098" y="80438"/>
                    <a:pt x="88181" y="82992"/>
                    <a:pt x="84986" y="82992"/>
                  </a:cubicBezTo>
                  <a:cubicBezTo>
                    <a:pt x="81792" y="82992"/>
                    <a:pt x="79874" y="81077"/>
                    <a:pt x="79874" y="77885"/>
                  </a:cubicBezTo>
                  <a:lnTo>
                    <a:pt x="79874" y="74054"/>
                  </a:lnTo>
                  <a:cubicBezTo>
                    <a:pt x="72845" y="72139"/>
                    <a:pt x="67733" y="65755"/>
                    <a:pt x="67733" y="58094"/>
                  </a:cubicBezTo>
                  <a:cubicBezTo>
                    <a:pt x="67733" y="55541"/>
                    <a:pt x="69650" y="52987"/>
                    <a:pt x="72845" y="52987"/>
                  </a:cubicBezTo>
                  <a:cubicBezTo>
                    <a:pt x="76040" y="52987"/>
                    <a:pt x="77958" y="54902"/>
                    <a:pt x="77958" y="58094"/>
                  </a:cubicBezTo>
                  <a:cubicBezTo>
                    <a:pt x="77958" y="61925"/>
                    <a:pt x="81153" y="65117"/>
                    <a:pt x="84986" y="65117"/>
                  </a:cubicBezTo>
                  <a:cubicBezTo>
                    <a:pt x="88820" y="65117"/>
                    <a:pt x="92015" y="61925"/>
                    <a:pt x="92015" y="58094"/>
                  </a:cubicBezTo>
                  <a:cubicBezTo>
                    <a:pt x="92654" y="54264"/>
                    <a:pt x="88820" y="51072"/>
                    <a:pt x="84986" y="5107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5" name="Graphic 4">
              <a:extLst>
                <a:ext uri="{FF2B5EF4-FFF2-40B4-BE49-F238E27FC236}">
                  <a16:creationId xmlns:a16="http://schemas.microsoft.com/office/drawing/2014/main" id="{9C029B2E-04E2-0F20-28F2-6DF0A00D8E9B}"/>
                </a:ext>
              </a:extLst>
            </p:cNvPr>
            <p:cNvSpPr/>
            <p:nvPr/>
          </p:nvSpPr>
          <p:spPr>
            <a:xfrm>
              <a:off x="10438601" y="1520188"/>
              <a:ext cx="169972" cy="91929"/>
            </a:xfrm>
            <a:custGeom>
              <a:avLst/>
              <a:gdLst>
                <a:gd name="connsiteX0" fmla="*/ 0 w 169972"/>
                <a:gd name="connsiteY0" fmla="*/ 21706 h 91929"/>
                <a:gd name="connsiteX1" fmla="*/ 141217 w 169972"/>
                <a:gd name="connsiteY1" fmla="*/ 21706 h 91929"/>
                <a:gd name="connsiteX2" fmla="*/ 147607 w 169972"/>
                <a:gd name="connsiteY2" fmla="*/ 28089 h 91929"/>
                <a:gd name="connsiteX3" fmla="*/ 147607 w 169972"/>
                <a:gd name="connsiteY3" fmla="*/ 91929 h 91929"/>
                <a:gd name="connsiteX4" fmla="*/ 150164 w 169972"/>
                <a:gd name="connsiteY4" fmla="*/ 91291 h 91929"/>
                <a:gd name="connsiteX5" fmla="*/ 169972 w 169972"/>
                <a:gd name="connsiteY5" fmla="*/ 91291 h 91929"/>
                <a:gd name="connsiteX6" fmla="*/ 169972 w 169972"/>
                <a:gd name="connsiteY6" fmla="*/ 0 h 91929"/>
                <a:gd name="connsiteX7" fmla="*/ 0 w 169972"/>
                <a:gd name="connsiteY7" fmla="*/ 0 h 91929"/>
                <a:gd name="connsiteX8" fmla="*/ 0 w 169972"/>
                <a:gd name="connsiteY8" fmla="*/ 21706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72" h="91929">
                  <a:moveTo>
                    <a:pt x="0" y="21706"/>
                  </a:moveTo>
                  <a:lnTo>
                    <a:pt x="141217" y="21706"/>
                  </a:lnTo>
                  <a:cubicBezTo>
                    <a:pt x="145052" y="21706"/>
                    <a:pt x="147607" y="24259"/>
                    <a:pt x="147607" y="28089"/>
                  </a:cubicBezTo>
                  <a:lnTo>
                    <a:pt x="147607" y="91929"/>
                  </a:lnTo>
                  <a:cubicBezTo>
                    <a:pt x="148247" y="91929"/>
                    <a:pt x="148886" y="91291"/>
                    <a:pt x="150164" y="91291"/>
                  </a:cubicBezTo>
                  <a:lnTo>
                    <a:pt x="169972" y="91291"/>
                  </a:lnTo>
                  <a:lnTo>
                    <a:pt x="169972" y="0"/>
                  </a:lnTo>
                  <a:lnTo>
                    <a:pt x="0" y="0"/>
                  </a:lnTo>
                  <a:lnTo>
                    <a:pt x="0"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6" name="Graphic 4">
              <a:extLst>
                <a:ext uri="{FF2B5EF4-FFF2-40B4-BE49-F238E27FC236}">
                  <a16:creationId xmlns:a16="http://schemas.microsoft.com/office/drawing/2014/main" id="{704B8638-FA68-A0E2-8BFE-E1F281A58B30}"/>
                </a:ext>
              </a:extLst>
            </p:cNvPr>
            <p:cNvSpPr/>
            <p:nvPr/>
          </p:nvSpPr>
          <p:spPr>
            <a:xfrm>
              <a:off x="10324860"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6492 w 361670"/>
                <a:gd name="connsiteY5" fmla="*/ 215779 h 361333"/>
                <a:gd name="connsiteX6" fmla="*/ 290103 w 361670"/>
                <a:gd name="connsiteY6" fmla="*/ 222163 h 361333"/>
                <a:gd name="connsiteX7" fmla="*/ 263904 w 361670"/>
                <a:gd name="connsiteY7" fmla="*/ 222163 h 361333"/>
                <a:gd name="connsiteX8" fmla="*/ 261348 w 361670"/>
                <a:gd name="connsiteY8" fmla="*/ 221524 h 361333"/>
                <a:gd name="connsiteX9" fmla="*/ 261348 w 361670"/>
                <a:gd name="connsiteY9" fmla="*/ 250252 h 361333"/>
                <a:gd name="connsiteX10" fmla="*/ 254958 w 361670"/>
                <a:gd name="connsiteY10" fmla="*/ 256636 h 361333"/>
                <a:gd name="connsiteX11" fmla="*/ 72206 w 361670"/>
                <a:gd name="connsiteY11" fmla="*/ 256636 h 361333"/>
                <a:gd name="connsiteX12" fmla="*/ 65816 w 361670"/>
                <a:gd name="connsiteY12" fmla="*/ 250252 h 361333"/>
                <a:gd name="connsiteX13" fmla="*/ 65816 w 361670"/>
                <a:gd name="connsiteY13" fmla="*/ 146193 h 361333"/>
                <a:gd name="connsiteX14" fmla="*/ 72206 w 361670"/>
                <a:gd name="connsiteY14" fmla="*/ 139809 h 361333"/>
                <a:gd name="connsiteX15" fmla="*/ 100322 w 361670"/>
                <a:gd name="connsiteY15" fmla="*/ 139809 h 361333"/>
                <a:gd name="connsiteX16" fmla="*/ 100322 w 361670"/>
                <a:gd name="connsiteY16" fmla="*/ 111720 h 361333"/>
                <a:gd name="connsiteX17" fmla="*/ 106712 w 361670"/>
                <a:gd name="connsiteY17" fmla="*/ 105336 h 361333"/>
                <a:gd name="connsiteX18" fmla="*/ 289464 w 361670"/>
                <a:gd name="connsiteY18" fmla="*/ 105336 h 361333"/>
                <a:gd name="connsiteX19" fmla="*/ 295854 w 361670"/>
                <a:gd name="connsiteY19" fmla="*/ 111720 h 361333"/>
                <a:gd name="connsiteX20" fmla="*/ 295854 w 361670"/>
                <a:gd name="connsiteY20" fmla="*/ 21577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96492" y="215779"/>
                  </a:moveTo>
                  <a:cubicBezTo>
                    <a:pt x="296492" y="219609"/>
                    <a:pt x="293937" y="222163"/>
                    <a:pt x="290103" y="222163"/>
                  </a:cubicBezTo>
                  <a:lnTo>
                    <a:pt x="263904" y="222163"/>
                  </a:lnTo>
                  <a:cubicBezTo>
                    <a:pt x="263265" y="222163"/>
                    <a:pt x="262626" y="222163"/>
                    <a:pt x="261348" y="221524"/>
                  </a:cubicBezTo>
                  <a:lnTo>
                    <a:pt x="261348" y="250252"/>
                  </a:lnTo>
                  <a:cubicBezTo>
                    <a:pt x="261348" y="254082"/>
                    <a:pt x="258792" y="256636"/>
                    <a:pt x="254958" y="256636"/>
                  </a:cubicBezTo>
                  <a:lnTo>
                    <a:pt x="72206" y="256636"/>
                  </a:lnTo>
                  <a:cubicBezTo>
                    <a:pt x="68372" y="256636"/>
                    <a:pt x="65816" y="254082"/>
                    <a:pt x="65816" y="250252"/>
                  </a:cubicBezTo>
                  <a:lnTo>
                    <a:pt x="65816" y="146193"/>
                  </a:lnTo>
                  <a:cubicBezTo>
                    <a:pt x="65816" y="142363"/>
                    <a:pt x="68372" y="139809"/>
                    <a:pt x="72206" y="139809"/>
                  </a:cubicBezTo>
                  <a:lnTo>
                    <a:pt x="100322" y="139809"/>
                  </a:lnTo>
                  <a:lnTo>
                    <a:pt x="100322" y="111720"/>
                  </a:lnTo>
                  <a:cubicBezTo>
                    <a:pt x="100322" y="107889"/>
                    <a:pt x="102878" y="105336"/>
                    <a:pt x="106712" y="105336"/>
                  </a:cubicBezTo>
                  <a:lnTo>
                    <a:pt x="289464" y="105336"/>
                  </a:lnTo>
                  <a:cubicBezTo>
                    <a:pt x="293298" y="105336"/>
                    <a:pt x="295854" y="107889"/>
                    <a:pt x="295854" y="111720"/>
                  </a:cubicBezTo>
                  <a:lnTo>
                    <a:pt x="295854" y="21577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67" name="TextBox 66">
            <a:extLst>
              <a:ext uri="{FF2B5EF4-FFF2-40B4-BE49-F238E27FC236}">
                <a16:creationId xmlns:a16="http://schemas.microsoft.com/office/drawing/2014/main" id="{7A5DE141-C63F-5ECC-88EE-9CACCDC94A37}"/>
              </a:ext>
            </a:extLst>
          </p:cNvPr>
          <p:cNvSpPr txBox="1"/>
          <p:nvPr/>
        </p:nvSpPr>
        <p:spPr>
          <a:xfrm>
            <a:off x="1254791" y="1834907"/>
            <a:ext cx="3992694" cy="474489"/>
          </a:xfrm>
          <a:prstGeom prst="rect">
            <a:avLst/>
          </a:prstGeom>
          <a:noFill/>
        </p:spPr>
        <p:txBody>
          <a:bodyPr wrap="square">
            <a:sp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                               </a:t>
            </a:r>
            <a:r>
              <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PPA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διακανονισμός</a:t>
            </a:r>
          </a:p>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Διακανονισμός διαφοράς τιμής συμβολαίου με τιμή αγοράς</a:t>
            </a:r>
            <a:endPar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Tree>
    <p:custDataLst>
      <p:custData r:id="rId1"/>
      <p:custData r:id="rId2"/>
      <p:tags r:id="rId3"/>
    </p:custDataLst>
    <p:extLst>
      <p:ext uri="{BB962C8B-B14F-4D97-AF65-F5344CB8AC3E}">
        <p14:creationId xmlns:p14="http://schemas.microsoft.com/office/powerpoint/2010/main" val="212897612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DDE8D01F-5DFE-F61D-1A22-29508018CE64}"/>
              </a:ext>
            </a:extLst>
          </p:cNvPr>
          <p:cNvSpPr txBox="1">
            <a:spLocks/>
          </p:cNvSpPr>
          <p:nvPr/>
        </p:nvSpPr>
        <p:spPr>
          <a:xfrm>
            <a:off x="6394100" y="1656012"/>
            <a:ext cx="5328000" cy="4962671"/>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SzPts val="850"/>
            </a:pPr>
            <a:r>
              <a:rPr lang="el-GR" sz="1400" b="1" dirty="0">
                <a:solidFill>
                  <a:schemeClr val="accent2"/>
                </a:solidFill>
                <a:latin typeface="Calibri" panose="020F0502020204030204" pitchFamily="34" charset="0"/>
                <a:cs typeface="Calibri" panose="020F0502020204030204" pitchFamily="34" charset="0"/>
              </a:rPr>
              <a:t>Πρακτικό παράδειγμα </a:t>
            </a:r>
            <a:r>
              <a:rPr lang="en-US" sz="1400" b="1" dirty="0">
                <a:solidFill>
                  <a:schemeClr val="accent2"/>
                </a:solidFill>
                <a:latin typeface="Calibri" panose="020F0502020204030204" pitchFamily="34" charset="0"/>
                <a:cs typeface="Calibri" panose="020F0502020204030204" pitchFamily="34" charset="0"/>
              </a:rPr>
              <a:t>PPA (physical </a:t>
            </a:r>
            <a:r>
              <a:rPr lang="el-GR" sz="1400" b="1" dirty="0">
                <a:solidFill>
                  <a:schemeClr val="accent2"/>
                </a:solidFill>
                <a:latin typeface="Calibri" panose="020F0502020204030204" pitchFamily="34" charset="0"/>
                <a:cs typeface="Calibri" panose="020F0502020204030204" pitchFamily="34" charset="0"/>
              </a:rPr>
              <a:t>και </a:t>
            </a:r>
            <a:r>
              <a:rPr lang="en-US" sz="1400" b="1" dirty="0">
                <a:solidFill>
                  <a:schemeClr val="accent2"/>
                </a:solidFill>
                <a:latin typeface="Calibri" panose="020F0502020204030204" pitchFamily="34" charset="0"/>
                <a:cs typeface="Calibri" panose="020F0502020204030204" pitchFamily="34" charset="0"/>
              </a:rPr>
              <a:t>virtual/financial)</a:t>
            </a:r>
          </a:p>
          <a:p>
            <a:pPr marL="285750" indent="-285750">
              <a:buSzPts val="850"/>
              <a:buFont typeface="Wingdings" panose="05000000000000000000" pitchFamily="2" charset="2"/>
              <a:buChar char="q"/>
            </a:pPr>
            <a:r>
              <a:rPr lang="el-GR" sz="1400" dirty="0">
                <a:latin typeface="Calibri" panose="020F0502020204030204" pitchFamily="34" charset="0"/>
                <a:cs typeface="Calibri" panose="020F0502020204030204" pitchFamily="34" charset="0"/>
              </a:rPr>
              <a:t>Συμφωνηθείσα τιμή πώλησης/αγοράς ενέργειας </a:t>
            </a:r>
            <a:r>
              <a:rPr lang="en-US" sz="1400" dirty="0">
                <a:latin typeface="Calibri" panose="020F0502020204030204" pitchFamily="34" charset="0"/>
                <a:cs typeface="Calibri" panose="020F0502020204030204" pitchFamily="34" charset="0"/>
              </a:rPr>
              <a:t>PPA</a:t>
            </a:r>
            <a:r>
              <a:rPr lang="el-GR" sz="1400" dirty="0">
                <a:latin typeface="Calibri" panose="020F0502020204030204" pitchFamily="34" charset="0"/>
                <a:cs typeface="Calibri" panose="020F0502020204030204" pitchFamily="34" charset="0"/>
              </a:rPr>
              <a:t>: </a:t>
            </a:r>
            <a:r>
              <a:rPr lang="el-GR" sz="1400" b="1" dirty="0">
                <a:latin typeface="Calibri" panose="020F0502020204030204" pitchFamily="34" charset="0"/>
                <a:cs typeface="Calibri" panose="020F0502020204030204" pitchFamily="34" charset="0"/>
              </a:rPr>
              <a:t>100€/Μ</a:t>
            </a:r>
            <a:r>
              <a:rPr lang="en-US" sz="1400" b="1" dirty="0">
                <a:latin typeface="Calibri" panose="020F0502020204030204" pitchFamily="34" charset="0"/>
                <a:cs typeface="Calibri" panose="020F0502020204030204" pitchFamily="34" charset="0"/>
              </a:rPr>
              <a:t>W</a:t>
            </a:r>
            <a:r>
              <a:rPr lang="el-GR" sz="1400" b="1" dirty="0">
                <a:latin typeface="Calibri" panose="020F0502020204030204" pitchFamily="34" charset="0"/>
                <a:cs typeface="Calibri" panose="020F0502020204030204" pitchFamily="34" charset="0"/>
              </a:rPr>
              <a:t> </a:t>
            </a:r>
          </a:p>
          <a:p>
            <a:pPr marL="285750" indent="-285750">
              <a:buSzPts val="850"/>
              <a:buFont typeface="Wingdings" panose="05000000000000000000" pitchFamily="2" charset="2"/>
              <a:buChar char="q"/>
            </a:pPr>
            <a:r>
              <a:rPr lang="el-GR" sz="1400" dirty="0">
                <a:latin typeface="Calibri" panose="020F0502020204030204" pitchFamily="34" charset="0"/>
                <a:cs typeface="Calibri" panose="020F0502020204030204" pitchFamily="34" charset="0"/>
              </a:rPr>
              <a:t>Τιμή Εκκαθάρισης της Αγοράς: </a:t>
            </a:r>
            <a:r>
              <a:rPr lang="el-GR" sz="1400" b="1" dirty="0">
                <a:latin typeface="Calibri" panose="020F0502020204030204" pitchFamily="34" charset="0"/>
                <a:cs typeface="Calibri" panose="020F0502020204030204" pitchFamily="34" charset="0"/>
              </a:rPr>
              <a:t>150€/</a:t>
            </a:r>
            <a:r>
              <a:rPr lang="en-US" sz="1400" b="1" dirty="0">
                <a:latin typeface="Calibri" panose="020F0502020204030204" pitchFamily="34" charset="0"/>
                <a:cs typeface="Calibri" panose="020F0502020204030204" pitchFamily="34" charset="0"/>
              </a:rPr>
              <a:t>MW</a:t>
            </a:r>
          </a:p>
          <a:p>
            <a:pPr marL="285750" indent="-285750">
              <a:buSzPts val="850"/>
              <a:buFont typeface="Wingdings" panose="05000000000000000000" pitchFamily="2" charset="2"/>
              <a:buChar char="q"/>
            </a:pPr>
            <a:r>
              <a:rPr lang="el-GR" sz="1400" b="1" dirty="0">
                <a:solidFill>
                  <a:schemeClr val="accent2"/>
                </a:solidFill>
                <a:latin typeface="Calibri" panose="020F0502020204030204" pitchFamily="34" charset="0"/>
                <a:cs typeface="Calibri" panose="020F0502020204030204" pitchFamily="34" charset="0"/>
              </a:rPr>
              <a:t>Άρα τιμή συμβολαίου &lt; Τιμή αγοράς</a:t>
            </a:r>
          </a:p>
          <a:p>
            <a:pPr marL="285750" indent="-285750">
              <a:buSzPts val="850"/>
              <a:buFont typeface="Wingdings" panose="05000000000000000000" pitchFamily="2" charset="2"/>
              <a:buChar char="q"/>
            </a:pPr>
            <a:r>
              <a:rPr lang="el-GR" sz="1400" dirty="0">
                <a:latin typeface="Calibri" panose="020F0502020204030204" pitchFamily="34" charset="0"/>
                <a:cs typeface="Calibri" panose="020F0502020204030204" pitchFamily="34" charset="0"/>
              </a:rPr>
              <a:t>Ο Πωλητής θα λάβει από την αγορά 150€/</a:t>
            </a:r>
            <a:r>
              <a:rPr lang="en-US" sz="1400" dirty="0">
                <a:latin typeface="Calibri" panose="020F0502020204030204" pitchFamily="34" charset="0"/>
                <a:cs typeface="Calibri" panose="020F0502020204030204" pitchFamily="34" charset="0"/>
              </a:rPr>
              <a:t>MW</a:t>
            </a:r>
            <a:r>
              <a:rPr lang="el-GR" sz="1400" dirty="0">
                <a:latin typeface="Calibri" panose="020F0502020204030204" pitchFamily="34" charset="0"/>
                <a:cs typeface="Calibri" panose="020F0502020204030204" pitchFamily="34" charset="0"/>
              </a:rPr>
              <a:t> και ο Αγοραστής θα καταβάλει στην αγορά/ ΕΧΕ 150€/</a:t>
            </a:r>
            <a:r>
              <a:rPr lang="en-US" sz="1400" dirty="0">
                <a:latin typeface="Calibri" panose="020F0502020204030204" pitchFamily="34" charset="0"/>
                <a:cs typeface="Calibri" panose="020F0502020204030204" pitchFamily="34" charset="0"/>
              </a:rPr>
              <a:t>MW</a:t>
            </a:r>
            <a:r>
              <a:rPr lang="el-GR" sz="1400" dirty="0">
                <a:latin typeface="Calibri" panose="020F0502020204030204" pitchFamily="34" charset="0"/>
                <a:cs typeface="Calibri" panose="020F0502020204030204" pitchFamily="34" charset="0"/>
              </a:rPr>
              <a:t>.</a:t>
            </a:r>
          </a:p>
          <a:p>
            <a:pPr marL="285750" indent="-285750">
              <a:buSzPts val="850"/>
              <a:buFont typeface="Wingdings" panose="05000000000000000000" pitchFamily="2" charset="2"/>
              <a:buChar char="q"/>
            </a:pPr>
            <a:r>
              <a:rPr lang="el-GR" sz="1400" dirty="0">
                <a:latin typeface="Calibri" panose="020F0502020204030204" pitchFamily="34" charset="0"/>
                <a:cs typeface="Calibri" panose="020F0502020204030204" pitchFamily="34" charset="0"/>
              </a:rPr>
              <a:t>Ο Πωλητής θα πρέπει να καταβάλει στον Αγοραστή τα επιπλέον 50€/Μ</a:t>
            </a:r>
            <a:r>
              <a:rPr lang="en-US" sz="1400" dirty="0">
                <a:latin typeface="Calibri" panose="020F0502020204030204" pitchFamily="34" charset="0"/>
                <a:cs typeface="Calibri" panose="020F0502020204030204" pitchFamily="34" charset="0"/>
              </a:rPr>
              <a:t>W </a:t>
            </a:r>
            <a:r>
              <a:rPr lang="el-GR" sz="1400" dirty="0">
                <a:latin typeface="Calibri" panose="020F0502020204030204" pitchFamily="34" charset="0"/>
                <a:cs typeface="Calibri" panose="020F0502020204030204" pitchFamily="34" charset="0"/>
              </a:rPr>
              <a:t>βάσει της μεταξύ τους σύμβασης. </a:t>
            </a:r>
            <a:endParaRPr lang="en-US" sz="1400" dirty="0">
              <a:latin typeface="Calibri" panose="020F0502020204030204" pitchFamily="34" charset="0"/>
              <a:cs typeface="Calibri" panose="020F0502020204030204" pitchFamily="34" charset="0"/>
            </a:endParaRPr>
          </a:p>
          <a:p>
            <a:pPr>
              <a:lnSpc>
                <a:spcPct val="115000"/>
              </a:lnSpc>
              <a:buSzPts val="850"/>
            </a:pPr>
            <a:r>
              <a:rPr lang="el-GR" sz="1400" b="1" dirty="0">
                <a:solidFill>
                  <a:schemeClr val="accent2"/>
                </a:solidFill>
                <a:latin typeface="Calibri" panose="020F0502020204030204" pitchFamily="34" charset="0"/>
                <a:cs typeface="Calibri" panose="020F0502020204030204" pitchFamily="34" charset="0"/>
              </a:rPr>
              <a:t>Φορολογικές Επιπτώσεις</a:t>
            </a:r>
          </a:p>
          <a:p>
            <a:pPr marL="171450" indent="-171450">
              <a:spcAft>
                <a:spcPts val="600"/>
              </a:spcAft>
              <a:buFont typeface="Arial" panose="020B0604020202020204" pitchFamily="34" charset="0"/>
              <a:buChar char="•"/>
            </a:pPr>
            <a:r>
              <a:rPr lang="el-GR" sz="1400" b="1" dirty="0">
                <a:latin typeface="Calibri" panose="020F0502020204030204" pitchFamily="34" charset="0"/>
                <a:cs typeface="Calibri" panose="020F0502020204030204" pitchFamily="34" charset="0"/>
              </a:rPr>
              <a:t>Έκπτωση δαπανών </a:t>
            </a:r>
            <a:r>
              <a:rPr lang="el-GR" sz="1400" dirty="0">
                <a:latin typeface="Calibri" panose="020F0502020204030204" pitchFamily="34" charset="0"/>
                <a:cs typeface="Calibri" panose="020F0502020204030204" pitchFamily="34" charset="0"/>
              </a:rPr>
              <a:t>που αντιστοιχεί στην διαφορά που θα πρέπει να καταβάλει ο πωλητής υπό προϋποθέσεις.</a:t>
            </a:r>
          </a:p>
          <a:p>
            <a:pPr marL="171450" indent="-171450">
              <a:spcAft>
                <a:spcPts val="600"/>
              </a:spcAft>
              <a:buFont typeface="Arial" panose="020B0604020202020204" pitchFamily="34" charset="0"/>
              <a:buChar char="•"/>
            </a:pPr>
            <a:r>
              <a:rPr lang="en-US" sz="1400" b="1" dirty="0">
                <a:latin typeface="Calibri" panose="020F0502020204030204" pitchFamily="34" charset="0"/>
                <a:cs typeface="Calibri" panose="020F0502020204030204" pitchFamily="34" charset="0"/>
              </a:rPr>
              <a:t>15% </a:t>
            </a:r>
            <a:r>
              <a:rPr lang="el-GR" sz="1400" b="1" dirty="0">
                <a:latin typeface="Calibri" panose="020F0502020204030204" pitchFamily="34" charset="0"/>
                <a:cs typeface="Calibri" panose="020F0502020204030204" pitchFamily="34" charset="0"/>
              </a:rPr>
              <a:t>φόρος υπεραξίας </a:t>
            </a:r>
            <a:r>
              <a:rPr lang="el-GR" sz="1400" dirty="0">
                <a:latin typeface="Calibri" panose="020F0502020204030204" pitchFamily="34" charset="0"/>
                <a:cs typeface="Calibri" panose="020F0502020204030204" pitchFamily="34" charset="0"/>
              </a:rPr>
              <a:t>κατά την πώληση των Εγγυήσεων</a:t>
            </a:r>
            <a:r>
              <a:rPr lang="en-US" sz="1400" dirty="0">
                <a:latin typeface="Calibri" panose="020F0502020204030204" pitchFamily="34" charset="0"/>
                <a:cs typeface="Calibri" panose="020F0502020204030204" pitchFamily="34" charset="0"/>
              </a:rPr>
              <a:t> </a:t>
            </a:r>
            <a:r>
              <a:rPr lang="el-GR" sz="1400" dirty="0">
                <a:latin typeface="Calibri" panose="020F0502020204030204" pitchFamily="34" charset="0"/>
                <a:cs typeface="Calibri" panose="020F0502020204030204" pitchFamily="34" charset="0"/>
              </a:rPr>
              <a:t>Προέλευσης ή Πιστοποιητικών Ανανεώσιμων Πηγών (</a:t>
            </a:r>
            <a:r>
              <a:rPr lang="el-GR" sz="1400" dirty="0" err="1">
                <a:latin typeface="Calibri" panose="020F0502020204030204" pitchFamily="34" charset="0"/>
                <a:cs typeface="Calibri" panose="020F0502020204030204" pitchFamily="34" charset="0"/>
              </a:rPr>
              <a:t>GoOs</a:t>
            </a:r>
            <a:r>
              <a:rPr lang="el-GR" sz="1400" dirty="0">
                <a:latin typeface="Calibri" panose="020F0502020204030204" pitchFamily="34" charset="0"/>
                <a:cs typeface="Calibri" panose="020F0502020204030204" pitchFamily="34" charset="0"/>
              </a:rPr>
              <a:t>/</a:t>
            </a:r>
            <a:r>
              <a:rPr lang="el-GR" sz="1400" dirty="0" err="1">
                <a:latin typeface="Calibri" panose="020F0502020204030204" pitchFamily="34" charset="0"/>
                <a:cs typeface="Calibri" panose="020F0502020204030204" pitchFamily="34" charset="0"/>
              </a:rPr>
              <a:t>RECs</a:t>
            </a:r>
            <a:r>
              <a:rPr lang="el-GR" sz="1400" dirty="0">
                <a:latin typeface="Calibri" panose="020F0502020204030204" pitchFamily="34" charset="0"/>
                <a:cs typeface="Calibri" panose="020F0502020204030204" pitchFamily="34" charset="0"/>
              </a:rPr>
              <a:t>) εφόσον προκύπτει.</a:t>
            </a:r>
          </a:p>
          <a:p>
            <a:pPr marL="171450" indent="-171450">
              <a:spcAft>
                <a:spcPts val="600"/>
              </a:spcAft>
              <a:buFont typeface="Arial" panose="020B0604020202020204" pitchFamily="34" charset="0"/>
              <a:buChar char="•"/>
            </a:pPr>
            <a:r>
              <a:rPr lang="el-GR" sz="1400" b="1" dirty="0">
                <a:latin typeface="Calibri" panose="020F0502020204030204" pitchFamily="34" charset="0"/>
                <a:cs typeface="Calibri" panose="020F0502020204030204" pitchFamily="34" charset="0"/>
              </a:rPr>
              <a:t>6 ή 0% ΦΠΑ</a:t>
            </a:r>
            <a:r>
              <a:rPr lang="el-GR" sz="1400" dirty="0">
                <a:latin typeface="Calibri" panose="020F0502020204030204" pitchFamily="34" charset="0"/>
                <a:cs typeface="Calibri" panose="020F0502020204030204" pitchFamily="34" charset="0"/>
              </a:rPr>
              <a:t>, ανάλογα με τον κατάλληλο χαρακτηρισμό των </a:t>
            </a:r>
            <a:r>
              <a:rPr lang="en-US" sz="1400" dirty="0">
                <a:latin typeface="Calibri" panose="020F0502020204030204" pitchFamily="34" charset="0"/>
                <a:cs typeface="Calibri" panose="020F0502020204030204" pitchFamily="34" charset="0"/>
              </a:rPr>
              <a:t>PPA’s</a:t>
            </a:r>
            <a:r>
              <a:rPr lang="el-GR" sz="1400" dirty="0">
                <a:latin typeface="Calibri" panose="020F0502020204030204" pitchFamily="34" charset="0"/>
                <a:cs typeface="Calibri" panose="020F0502020204030204" pitchFamily="34" charset="0"/>
              </a:rPr>
              <a:t> από πλευράς ΦΠΑ στην Ελλάδα.</a:t>
            </a:r>
            <a:endParaRPr lang="en-US" sz="1400" dirty="0">
              <a:latin typeface="Calibri" panose="020F0502020204030204" pitchFamily="34" charset="0"/>
              <a:cs typeface="Calibri" panose="020F0502020204030204" pitchFamily="34" charset="0"/>
            </a:endParaRPr>
          </a:p>
          <a:p>
            <a:pPr marL="171450" indent="-171450">
              <a:spcAft>
                <a:spcPts val="600"/>
              </a:spcAft>
              <a:buFont typeface="Arial" panose="020B0604020202020204" pitchFamily="34" charset="0"/>
              <a:buChar char="•"/>
            </a:pPr>
            <a:endParaRPr lang="en-US" sz="1200" u="sng" dirty="0">
              <a:latin typeface="Calibri" panose="020F0502020204030204" pitchFamily="34" charset="0"/>
              <a:cs typeface="Calibri" panose="020F0502020204030204" pitchFamily="34" charset="0"/>
            </a:endParaRPr>
          </a:p>
        </p:txBody>
      </p:sp>
      <p:sp>
        <p:nvSpPr>
          <p:cNvPr id="3" name="Text Placeholder 3">
            <a:extLst>
              <a:ext uri="{FF2B5EF4-FFF2-40B4-BE49-F238E27FC236}">
                <a16:creationId xmlns:a16="http://schemas.microsoft.com/office/drawing/2014/main" id="{C57D9DC6-32D0-01A7-8101-5478AC77BA99}"/>
              </a:ext>
            </a:extLst>
          </p:cNvPr>
          <p:cNvSpPr>
            <a:spLocks noGrp="1"/>
          </p:cNvSpPr>
          <p:nvPr>
            <p:ph type="body" sz="quarter" idx="13"/>
          </p:nvPr>
        </p:nvSpPr>
        <p:spPr>
          <a:xfrm>
            <a:off x="469903" y="736701"/>
            <a:ext cx="11252200" cy="757255"/>
          </a:xfrm>
        </p:spPr>
        <p:txBody>
          <a:bodyPr/>
          <a:lstStyle/>
          <a:p>
            <a:pPr defTabSz="1219170"/>
            <a:r>
              <a:rPr lang="el-GR" sz="1800" dirty="0">
                <a:latin typeface="Calibri" panose="020F0502020204030204" pitchFamily="34" charset="0"/>
                <a:cs typeface="Calibri" panose="020F0502020204030204" pitchFamily="34" charset="0"/>
              </a:rPr>
              <a:t>Πρακτικό Παράδειγμα 1</a:t>
            </a:r>
            <a:endParaRPr lang="en-US" sz="1800" dirty="0">
              <a:latin typeface="Calibri" panose="020F0502020204030204" pitchFamily="34" charset="0"/>
              <a:cs typeface="Calibri" panose="020F0502020204030204" pitchFamily="34" charset="0"/>
            </a:endParaRPr>
          </a:p>
        </p:txBody>
      </p:sp>
      <p:sp>
        <p:nvSpPr>
          <p:cNvPr id="4" name="Title 4">
            <a:extLst>
              <a:ext uri="{FF2B5EF4-FFF2-40B4-BE49-F238E27FC236}">
                <a16:creationId xmlns:a16="http://schemas.microsoft.com/office/drawing/2014/main" id="{5814CE51-A068-6B94-0A34-4E40A8D4473E}"/>
              </a:ext>
            </a:extLst>
          </p:cNvPr>
          <p:cNvSpPr>
            <a:spLocks noGrp="1"/>
          </p:cNvSpPr>
          <p:nvPr>
            <p:ph type="title"/>
          </p:nvPr>
        </p:nvSpPr>
        <p:spPr>
          <a:xfrm>
            <a:off x="469903" y="402598"/>
            <a:ext cx="11252200" cy="698501"/>
          </a:xfrm>
        </p:spPr>
        <p:txBody>
          <a:bodyPr/>
          <a:lstStyle/>
          <a:p>
            <a:pPr defTabSz="914400"/>
            <a:r>
              <a:rPr lang="el-GR" sz="2000" dirty="0">
                <a:latin typeface="Calibri" panose="020F0502020204030204" pitchFamily="34" charset="0"/>
                <a:cs typeface="Calibri" panose="020F0502020204030204" pitchFamily="34" charset="0"/>
              </a:rPr>
              <a:t>Διμερής συμφωνίες πώλησης ενέργειας (</a:t>
            </a:r>
            <a:r>
              <a:rPr lang="en-US" sz="2000" dirty="0">
                <a:latin typeface="Calibri" panose="020F0502020204030204" pitchFamily="34" charset="0"/>
                <a:cs typeface="Calibri" panose="020F0502020204030204" pitchFamily="34" charset="0"/>
              </a:rPr>
              <a:t>PPA’s)</a:t>
            </a:r>
          </a:p>
        </p:txBody>
      </p:sp>
      <p:pic>
        <p:nvPicPr>
          <p:cNvPr id="5" name="Picture 4" descr="A diagram of a wind turbine&#10;&#10;Description automatically generated">
            <a:extLst>
              <a:ext uri="{FF2B5EF4-FFF2-40B4-BE49-F238E27FC236}">
                <a16:creationId xmlns:a16="http://schemas.microsoft.com/office/drawing/2014/main" id="{E6378AA7-9E81-1A51-8F9A-848563428B00}"/>
              </a:ext>
            </a:extLst>
          </p:cNvPr>
          <p:cNvPicPr>
            <a:picLocks noChangeAspect="1"/>
          </p:cNvPicPr>
          <p:nvPr/>
        </p:nvPicPr>
        <p:blipFill rotWithShape="1">
          <a:blip r:embed="rId5">
            <a:extLst>
              <a:ext uri="{28A0092B-C50C-407E-A947-70E740481C1C}">
                <a14:useLocalDpi xmlns:a14="http://schemas.microsoft.com/office/drawing/2010/main" val="0"/>
              </a:ext>
            </a:extLst>
          </a:blip>
          <a:srcRect l="19959" t="19500" r="18367" b="15682"/>
          <a:stretch/>
        </p:blipFill>
        <p:spPr>
          <a:xfrm>
            <a:off x="391064" y="2637500"/>
            <a:ext cx="1649201" cy="1827728"/>
          </a:xfrm>
          <a:prstGeom prst="rect">
            <a:avLst/>
          </a:prstGeom>
        </p:spPr>
      </p:pic>
      <p:pic>
        <p:nvPicPr>
          <p:cNvPr id="6" name="Picture 5" descr="A green and grey building with smoke coming out of it&#10;&#10;Description automatically generated">
            <a:extLst>
              <a:ext uri="{FF2B5EF4-FFF2-40B4-BE49-F238E27FC236}">
                <a16:creationId xmlns:a16="http://schemas.microsoft.com/office/drawing/2014/main" id="{CE66B370-2225-604F-F35F-1A3DD4BB29E5}"/>
              </a:ext>
            </a:extLst>
          </p:cNvPr>
          <p:cNvPicPr>
            <a:picLocks noChangeAspect="1"/>
          </p:cNvPicPr>
          <p:nvPr/>
        </p:nvPicPr>
        <p:blipFill rotWithShape="1">
          <a:blip r:embed="rId6">
            <a:extLst>
              <a:ext uri="{28A0092B-C50C-407E-A947-70E740481C1C}">
                <a14:useLocalDpi xmlns:a14="http://schemas.microsoft.com/office/drawing/2010/main" val="0"/>
              </a:ext>
            </a:extLst>
          </a:blip>
          <a:srcRect b="14699"/>
          <a:stretch/>
        </p:blipFill>
        <p:spPr>
          <a:xfrm>
            <a:off x="4341791" y="2619152"/>
            <a:ext cx="1733135" cy="1827728"/>
          </a:xfrm>
          <a:prstGeom prst="rect">
            <a:avLst/>
          </a:prstGeom>
        </p:spPr>
      </p:pic>
      <p:sp>
        <p:nvSpPr>
          <p:cNvPr id="7" name="Textbox 38">
            <a:extLst>
              <a:ext uri="{FF2B5EF4-FFF2-40B4-BE49-F238E27FC236}">
                <a16:creationId xmlns:a16="http://schemas.microsoft.com/office/drawing/2014/main" id="{CAD947DA-F910-C449-0575-71E7EFB38051}"/>
              </a:ext>
            </a:extLst>
          </p:cNvPr>
          <p:cNvSpPr txBox="1"/>
          <p:nvPr/>
        </p:nvSpPr>
        <p:spPr>
          <a:xfrm>
            <a:off x="1971400" y="239782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8" name="Textbox 38">
            <a:extLst>
              <a:ext uri="{FF2B5EF4-FFF2-40B4-BE49-F238E27FC236}">
                <a16:creationId xmlns:a16="http://schemas.microsoft.com/office/drawing/2014/main" id="{5B0ECF8B-DFB2-10C1-D1BF-05F4DC793097}"/>
              </a:ext>
            </a:extLst>
          </p:cNvPr>
          <p:cNvSpPr txBox="1"/>
          <p:nvPr/>
        </p:nvSpPr>
        <p:spPr>
          <a:xfrm>
            <a:off x="1971399" y="2342605"/>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9" name="Textbox 38">
            <a:extLst>
              <a:ext uri="{FF2B5EF4-FFF2-40B4-BE49-F238E27FC236}">
                <a16:creationId xmlns:a16="http://schemas.microsoft.com/office/drawing/2014/main" id="{CA2F1373-8995-C8D2-C695-809970FBCECB}"/>
              </a:ext>
            </a:extLst>
          </p:cNvPr>
          <p:cNvSpPr txBox="1"/>
          <p:nvPr/>
        </p:nvSpPr>
        <p:spPr>
          <a:xfrm>
            <a:off x="547395" y="439471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Πωλητής</a:t>
            </a:r>
            <a:endPar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10" name="Textbox 38">
            <a:extLst>
              <a:ext uri="{FF2B5EF4-FFF2-40B4-BE49-F238E27FC236}">
                <a16:creationId xmlns:a16="http://schemas.microsoft.com/office/drawing/2014/main" id="{9CFD4B71-55C0-7D97-CC11-7B6653675379}"/>
              </a:ext>
            </a:extLst>
          </p:cNvPr>
          <p:cNvSpPr txBox="1"/>
          <p:nvPr/>
        </p:nvSpPr>
        <p:spPr>
          <a:xfrm>
            <a:off x="3456185" y="4431013"/>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Αγοραστής</a:t>
            </a:r>
            <a:endPar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12" name="Textbox 38">
            <a:extLst>
              <a:ext uri="{FF2B5EF4-FFF2-40B4-BE49-F238E27FC236}">
                <a16:creationId xmlns:a16="http://schemas.microsoft.com/office/drawing/2014/main" id="{0208C378-2B1A-2082-591A-C0CB3859A004}"/>
              </a:ext>
            </a:extLst>
          </p:cNvPr>
          <p:cNvSpPr txBox="1"/>
          <p:nvPr/>
        </p:nvSpPr>
        <p:spPr>
          <a:xfrm>
            <a:off x="2104877" y="3475194"/>
            <a:ext cx="2214270" cy="41660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50 €/</a:t>
            </a: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W</a:t>
            </a:r>
            <a:r>
              <a:rPr kumimoji="0" lang="el-GR"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l-GR"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δ</a:t>
            </a: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ιαφορά τιμής συμβολαίου με τιμή αγοράς</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13" name="Straight Arrow Connector 12">
            <a:extLst>
              <a:ext uri="{FF2B5EF4-FFF2-40B4-BE49-F238E27FC236}">
                <a16:creationId xmlns:a16="http://schemas.microsoft.com/office/drawing/2014/main" id="{ECBB3AD3-254B-8510-E703-18D95D741FE2}"/>
              </a:ext>
            </a:extLst>
          </p:cNvPr>
          <p:cNvCxnSpPr>
            <a:cxnSpLocks/>
          </p:cNvCxnSpPr>
          <p:nvPr/>
        </p:nvCxnSpPr>
        <p:spPr>
          <a:xfrm>
            <a:off x="1745555" y="3345620"/>
            <a:ext cx="2594851" cy="0"/>
          </a:xfrm>
          <a:prstGeom prst="straightConnector1">
            <a:avLst/>
          </a:prstGeom>
          <a:ln>
            <a:prstDash val="dash"/>
            <a:tailEnd type="triangle"/>
          </a:ln>
        </p:spPr>
        <p:style>
          <a:lnRef idx="2">
            <a:schemeClr val="accent4"/>
          </a:lnRef>
          <a:fillRef idx="0">
            <a:schemeClr val="accent4"/>
          </a:fillRef>
          <a:effectRef idx="1">
            <a:schemeClr val="accent4"/>
          </a:effectRef>
          <a:fontRef idx="minor">
            <a:schemeClr val="tx1"/>
          </a:fontRef>
        </p:style>
      </p:cxnSp>
      <p:sp>
        <p:nvSpPr>
          <p:cNvPr id="14" name="Textbox 38">
            <a:extLst>
              <a:ext uri="{FF2B5EF4-FFF2-40B4-BE49-F238E27FC236}">
                <a16:creationId xmlns:a16="http://schemas.microsoft.com/office/drawing/2014/main" id="{4EFE0FE4-6424-F9E8-689B-23C3F4CF2085}"/>
              </a:ext>
            </a:extLst>
          </p:cNvPr>
          <p:cNvSpPr txBox="1"/>
          <p:nvPr/>
        </p:nvSpPr>
        <p:spPr>
          <a:xfrm>
            <a:off x="2241901" y="2843792"/>
            <a:ext cx="3820280" cy="313231"/>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50 €/</a:t>
            </a: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W</a:t>
            </a:r>
            <a:r>
              <a:rPr kumimoji="0" lang="el-GR"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τιμή αγοράς</a:t>
            </a:r>
            <a:endPar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15" name="Straight Arrow Connector 14">
            <a:extLst>
              <a:ext uri="{FF2B5EF4-FFF2-40B4-BE49-F238E27FC236}">
                <a16:creationId xmlns:a16="http://schemas.microsoft.com/office/drawing/2014/main" id="{2F2FF7AD-FCC0-22D5-E29E-6231BEB51531}"/>
              </a:ext>
            </a:extLst>
          </p:cNvPr>
          <p:cNvCxnSpPr>
            <a:cxnSpLocks/>
          </p:cNvCxnSpPr>
          <p:nvPr/>
        </p:nvCxnSpPr>
        <p:spPr>
          <a:xfrm flipH="1">
            <a:off x="1716423" y="3152580"/>
            <a:ext cx="2602724" cy="0"/>
          </a:xfrm>
          <a:prstGeom prst="straightConnector1">
            <a:avLst/>
          </a:prstGeom>
          <a:ln>
            <a:solidFill>
              <a:schemeClr val="accent3"/>
            </a:solidFill>
            <a:prstDash val="dash"/>
            <a:tailEnd type="triangle"/>
          </a:ln>
        </p:spPr>
        <p:style>
          <a:lnRef idx="2">
            <a:schemeClr val="accent4"/>
          </a:lnRef>
          <a:fillRef idx="0">
            <a:schemeClr val="accent4"/>
          </a:fillRef>
          <a:effectRef idx="1">
            <a:schemeClr val="accent4"/>
          </a:effectRef>
          <a:fontRef idx="minor">
            <a:schemeClr val="tx1"/>
          </a:fontRef>
        </p:style>
      </p:cxnSp>
      <p:sp>
        <p:nvSpPr>
          <p:cNvPr id="16" name="Textbox 38">
            <a:extLst>
              <a:ext uri="{FF2B5EF4-FFF2-40B4-BE49-F238E27FC236}">
                <a16:creationId xmlns:a16="http://schemas.microsoft.com/office/drawing/2014/main" id="{5387C8C9-6595-BFBD-BAE3-C23AB1E54302}"/>
              </a:ext>
            </a:extLst>
          </p:cNvPr>
          <p:cNvSpPr txBox="1"/>
          <p:nvPr/>
        </p:nvSpPr>
        <p:spPr>
          <a:xfrm>
            <a:off x="1477655" y="2440522"/>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17" name="Textbox 38">
            <a:extLst>
              <a:ext uri="{FF2B5EF4-FFF2-40B4-BE49-F238E27FC236}">
                <a16:creationId xmlns:a16="http://schemas.microsoft.com/office/drawing/2014/main" id="{AC9C9265-C386-D6BA-11A7-DD70C88BB988}"/>
              </a:ext>
            </a:extLst>
          </p:cNvPr>
          <p:cNvSpPr txBox="1"/>
          <p:nvPr/>
        </p:nvSpPr>
        <p:spPr>
          <a:xfrm>
            <a:off x="1477654" y="2385303"/>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grpSp>
        <p:nvGrpSpPr>
          <p:cNvPr id="18" name="Graphic 4">
            <a:extLst>
              <a:ext uri="{FF2B5EF4-FFF2-40B4-BE49-F238E27FC236}">
                <a16:creationId xmlns:a16="http://schemas.microsoft.com/office/drawing/2014/main" id="{BD6D95DD-BBD4-7461-7F1D-00D4D9B34E84}"/>
              </a:ext>
            </a:extLst>
          </p:cNvPr>
          <p:cNvGrpSpPr/>
          <p:nvPr/>
        </p:nvGrpSpPr>
        <p:grpSpPr>
          <a:xfrm>
            <a:off x="2154190" y="1959583"/>
            <a:ext cx="388310" cy="446646"/>
            <a:chOff x="10324860" y="1402085"/>
            <a:chExt cx="361670" cy="361333"/>
          </a:xfrm>
          <a:solidFill>
            <a:schemeClr val="accent4"/>
          </a:solidFill>
        </p:grpSpPr>
        <p:sp>
          <p:nvSpPr>
            <p:cNvPr id="19" name="Graphic 4">
              <a:extLst>
                <a:ext uri="{FF2B5EF4-FFF2-40B4-BE49-F238E27FC236}">
                  <a16:creationId xmlns:a16="http://schemas.microsoft.com/office/drawing/2014/main" id="{5099DA03-18AE-1986-AD39-BE6DDAE2A8B4}"/>
                </a:ext>
              </a:extLst>
            </p:cNvPr>
            <p:cNvSpPr/>
            <p:nvPr/>
          </p:nvSpPr>
          <p:spPr>
            <a:xfrm>
              <a:off x="10403456" y="1554662"/>
              <a:ext cx="169972" cy="91291"/>
            </a:xfrm>
            <a:custGeom>
              <a:avLst/>
              <a:gdLst>
                <a:gd name="connsiteX0" fmla="*/ 0 w 169972"/>
                <a:gd name="connsiteY0" fmla="*/ 0 h 91291"/>
                <a:gd name="connsiteX1" fmla="*/ 0 w 169972"/>
                <a:gd name="connsiteY1" fmla="*/ 91291 h 91291"/>
                <a:gd name="connsiteX2" fmla="*/ 169972 w 169972"/>
                <a:gd name="connsiteY2" fmla="*/ 91291 h 91291"/>
                <a:gd name="connsiteX3" fmla="*/ 169972 w 169972"/>
                <a:gd name="connsiteY3" fmla="*/ 0 h 91291"/>
                <a:gd name="connsiteX4" fmla="*/ 0 w 169972"/>
                <a:gd name="connsiteY4" fmla="*/ 0 h 91291"/>
                <a:gd name="connsiteX5" fmla="*/ 84986 w 169972"/>
                <a:gd name="connsiteY5" fmla="*/ 51072 h 91291"/>
                <a:gd name="connsiteX6" fmla="*/ 68373 w 169972"/>
                <a:gd name="connsiteY6" fmla="*/ 34474 h 91291"/>
                <a:gd name="connsiteX7" fmla="*/ 80513 w 169972"/>
                <a:gd name="connsiteY7" fmla="*/ 18514 h 91291"/>
                <a:gd name="connsiteX8" fmla="*/ 80513 w 169972"/>
                <a:gd name="connsiteY8" fmla="*/ 14683 h 91291"/>
                <a:gd name="connsiteX9" fmla="*/ 85625 w 169972"/>
                <a:gd name="connsiteY9" fmla="*/ 9576 h 91291"/>
                <a:gd name="connsiteX10" fmla="*/ 90738 w 169972"/>
                <a:gd name="connsiteY10" fmla="*/ 14683 h 91291"/>
                <a:gd name="connsiteX11" fmla="*/ 90738 w 169972"/>
                <a:gd name="connsiteY11" fmla="*/ 18514 h 91291"/>
                <a:gd name="connsiteX12" fmla="*/ 102878 w 169972"/>
                <a:gd name="connsiteY12" fmla="*/ 34474 h 91291"/>
                <a:gd name="connsiteX13" fmla="*/ 97766 w 169972"/>
                <a:gd name="connsiteY13" fmla="*/ 39581 h 91291"/>
                <a:gd name="connsiteX14" fmla="*/ 92654 w 169972"/>
                <a:gd name="connsiteY14" fmla="*/ 34474 h 91291"/>
                <a:gd name="connsiteX15" fmla="*/ 85625 w 169972"/>
                <a:gd name="connsiteY15" fmla="*/ 27451 h 91291"/>
                <a:gd name="connsiteX16" fmla="*/ 78597 w 169972"/>
                <a:gd name="connsiteY16" fmla="*/ 34474 h 91291"/>
                <a:gd name="connsiteX17" fmla="*/ 85625 w 169972"/>
                <a:gd name="connsiteY17" fmla="*/ 41496 h 91291"/>
                <a:gd name="connsiteX18" fmla="*/ 102239 w 169972"/>
                <a:gd name="connsiteY18" fmla="*/ 58094 h 91291"/>
                <a:gd name="connsiteX19" fmla="*/ 90098 w 169972"/>
                <a:gd name="connsiteY19" fmla="*/ 74054 h 91291"/>
                <a:gd name="connsiteX20" fmla="*/ 90098 w 169972"/>
                <a:gd name="connsiteY20" fmla="*/ 77885 h 91291"/>
                <a:gd name="connsiteX21" fmla="*/ 84986 w 169972"/>
                <a:gd name="connsiteY21" fmla="*/ 82992 h 91291"/>
                <a:gd name="connsiteX22" fmla="*/ 79874 w 169972"/>
                <a:gd name="connsiteY22" fmla="*/ 77885 h 91291"/>
                <a:gd name="connsiteX23" fmla="*/ 79874 w 169972"/>
                <a:gd name="connsiteY23" fmla="*/ 74054 h 91291"/>
                <a:gd name="connsiteX24" fmla="*/ 67733 w 169972"/>
                <a:gd name="connsiteY24" fmla="*/ 58094 h 91291"/>
                <a:gd name="connsiteX25" fmla="*/ 72845 w 169972"/>
                <a:gd name="connsiteY25" fmla="*/ 52987 h 91291"/>
                <a:gd name="connsiteX26" fmla="*/ 77958 w 169972"/>
                <a:gd name="connsiteY26" fmla="*/ 58094 h 91291"/>
                <a:gd name="connsiteX27" fmla="*/ 84986 w 169972"/>
                <a:gd name="connsiteY27" fmla="*/ 65117 h 91291"/>
                <a:gd name="connsiteX28" fmla="*/ 92015 w 169972"/>
                <a:gd name="connsiteY28" fmla="*/ 58094 h 91291"/>
                <a:gd name="connsiteX29" fmla="*/ 84986 w 169972"/>
                <a:gd name="connsiteY29" fmla="*/ 51072 h 9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9972" h="91291">
                  <a:moveTo>
                    <a:pt x="0" y="0"/>
                  </a:moveTo>
                  <a:lnTo>
                    <a:pt x="0" y="91291"/>
                  </a:lnTo>
                  <a:lnTo>
                    <a:pt x="169972" y="91291"/>
                  </a:lnTo>
                  <a:lnTo>
                    <a:pt x="169972" y="0"/>
                  </a:lnTo>
                  <a:lnTo>
                    <a:pt x="0" y="0"/>
                  </a:lnTo>
                  <a:close/>
                  <a:moveTo>
                    <a:pt x="84986" y="51072"/>
                  </a:moveTo>
                  <a:cubicBezTo>
                    <a:pt x="76040" y="51072"/>
                    <a:pt x="68373" y="43411"/>
                    <a:pt x="68373" y="34474"/>
                  </a:cubicBezTo>
                  <a:cubicBezTo>
                    <a:pt x="68373" y="26813"/>
                    <a:pt x="73484" y="20429"/>
                    <a:pt x="80513" y="18514"/>
                  </a:cubicBezTo>
                  <a:lnTo>
                    <a:pt x="80513" y="14683"/>
                  </a:lnTo>
                  <a:cubicBezTo>
                    <a:pt x="80513" y="12130"/>
                    <a:pt x="82430" y="9576"/>
                    <a:pt x="85625" y="9576"/>
                  </a:cubicBezTo>
                  <a:cubicBezTo>
                    <a:pt x="88820" y="9576"/>
                    <a:pt x="90738" y="11491"/>
                    <a:pt x="90738" y="14683"/>
                  </a:cubicBezTo>
                  <a:lnTo>
                    <a:pt x="90738" y="18514"/>
                  </a:lnTo>
                  <a:cubicBezTo>
                    <a:pt x="97766" y="20429"/>
                    <a:pt x="102878" y="26813"/>
                    <a:pt x="102878" y="34474"/>
                  </a:cubicBezTo>
                  <a:cubicBezTo>
                    <a:pt x="102878" y="37027"/>
                    <a:pt x="100961" y="39581"/>
                    <a:pt x="97766" y="39581"/>
                  </a:cubicBezTo>
                  <a:cubicBezTo>
                    <a:pt x="94571" y="39581"/>
                    <a:pt x="92654" y="37666"/>
                    <a:pt x="92654" y="34474"/>
                  </a:cubicBezTo>
                  <a:cubicBezTo>
                    <a:pt x="92654" y="30643"/>
                    <a:pt x="89459" y="27451"/>
                    <a:pt x="85625" y="27451"/>
                  </a:cubicBezTo>
                  <a:cubicBezTo>
                    <a:pt x="81792" y="27451"/>
                    <a:pt x="78597" y="30643"/>
                    <a:pt x="78597" y="34474"/>
                  </a:cubicBezTo>
                  <a:cubicBezTo>
                    <a:pt x="78597" y="38304"/>
                    <a:pt x="81792" y="41496"/>
                    <a:pt x="85625" y="41496"/>
                  </a:cubicBezTo>
                  <a:cubicBezTo>
                    <a:pt x="95210" y="41496"/>
                    <a:pt x="102239" y="49157"/>
                    <a:pt x="102239" y="58094"/>
                  </a:cubicBezTo>
                  <a:cubicBezTo>
                    <a:pt x="102239" y="65755"/>
                    <a:pt x="97128" y="72139"/>
                    <a:pt x="90098" y="74054"/>
                  </a:cubicBezTo>
                  <a:lnTo>
                    <a:pt x="90098" y="77885"/>
                  </a:lnTo>
                  <a:cubicBezTo>
                    <a:pt x="90098" y="80438"/>
                    <a:pt x="88181" y="82992"/>
                    <a:pt x="84986" y="82992"/>
                  </a:cubicBezTo>
                  <a:cubicBezTo>
                    <a:pt x="81792" y="82992"/>
                    <a:pt x="79874" y="81077"/>
                    <a:pt x="79874" y="77885"/>
                  </a:cubicBezTo>
                  <a:lnTo>
                    <a:pt x="79874" y="74054"/>
                  </a:lnTo>
                  <a:cubicBezTo>
                    <a:pt x="72845" y="72139"/>
                    <a:pt x="67733" y="65755"/>
                    <a:pt x="67733" y="58094"/>
                  </a:cubicBezTo>
                  <a:cubicBezTo>
                    <a:pt x="67733" y="55541"/>
                    <a:pt x="69650" y="52987"/>
                    <a:pt x="72845" y="52987"/>
                  </a:cubicBezTo>
                  <a:cubicBezTo>
                    <a:pt x="76040" y="52987"/>
                    <a:pt x="77958" y="54902"/>
                    <a:pt x="77958" y="58094"/>
                  </a:cubicBezTo>
                  <a:cubicBezTo>
                    <a:pt x="77958" y="61925"/>
                    <a:pt x="81153" y="65117"/>
                    <a:pt x="84986" y="65117"/>
                  </a:cubicBezTo>
                  <a:cubicBezTo>
                    <a:pt x="88820" y="65117"/>
                    <a:pt x="92015" y="61925"/>
                    <a:pt x="92015" y="58094"/>
                  </a:cubicBezTo>
                  <a:cubicBezTo>
                    <a:pt x="92654" y="54264"/>
                    <a:pt x="88820" y="51072"/>
                    <a:pt x="84986" y="5107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0" name="Graphic 4">
              <a:extLst>
                <a:ext uri="{FF2B5EF4-FFF2-40B4-BE49-F238E27FC236}">
                  <a16:creationId xmlns:a16="http://schemas.microsoft.com/office/drawing/2014/main" id="{94517B42-7ABB-5BFC-BE2D-FF055831C07C}"/>
                </a:ext>
              </a:extLst>
            </p:cNvPr>
            <p:cNvSpPr/>
            <p:nvPr/>
          </p:nvSpPr>
          <p:spPr>
            <a:xfrm>
              <a:off x="10438601" y="1520188"/>
              <a:ext cx="169972" cy="91929"/>
            </a:xfrm>
            <a:custGeom>
              <a:avLst/>
              <a:gdLst>
                <a:gd name="connsiteX0" fmla="*/ 0 w 169972"/>
                <a:gd name="connsiteY0" fmla="*/ 21706 h 91929"/>
                <a:gd name="connsiteX1" fmla="*/ 141217 w 169972"/>
                <a:gd name="connsiteY1" fmla="*/ 21706 h 91929"/>
                <a:gd name="connsiteX2" fmla="*/ 147607 w 169972"/>
                <a:gd name="connsiteY2" fmla="*/ 28089 h 91929"/>
                <a:gd name="connsiteX3" fmla="*/ 147607 w 169972"/>
                <a:gd name="connsiteY3" fmla="*/ 91929 h 91929"/>
                <a:gd name="connsiteX4" fmla="*/ 150164 w 169972"/>
                <a:gd name="connsiteY4" fmla="*/ 91291 h 91929"/>
                <a:gd name="connsiteX5" fmla="*/ 169972 w 169972"/>
                <a:gd name="connsiteY5" fmla="*/ 91291 h 91929"/>
                <a:gd name="connsiteX6" fmla="*/ 169972 w 169972"/>
                <a:gd name="connsiteY6" fmla="*/ 0 h 91929"/>
                <a:gd name="connsiteX7" fmla="*/ 0 w 169972"/>
                <a:gd name="connsiteY7" fmla="*/ 0 h 91929"/>
                <a:gd name="connsiteX8" fmla="*/ 0 w 169972"/>
                <a:gd name="connsiteY8" fmla="*/ 21706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72" h="91929">
                  <a:moveTo>
                    <a:pt x="0" y="21706"/>
                  </a:moveTo>
                  <a:lnTo>
                    <a:pt x="141217" y="21706"/>
                  </a:lnTo>
                  <a:cubicBezTo>
                    <a:pt x="145052" y="21706"/>
                    <a:pt x="147607" y="24259"/>
                    <a:pt x="147607" y="28089"/>
                  </a:cubicBezTo>
                  <a:lnTo>
                    <a:pt x="147607" y="91929"/>
                  </a:lnTo>
                  <a:cubicBezTo>
                    <a:pt x="148247" y="91929"/>
                    <a:pt x="148886" y="91291"/>
                    <a:pt x="150164" y="91291"/>
                  </a:cubicBezTo>
                  <a:lnTo>
                    <a:pt x="169972" y="91291"/>
                  </a:lnTo>
                  <a:lnTo>
                    <a:pt x="169972" y="0"/>
                  </a:lnTo>
                  <a:lnTo>
                    <a:pt x="0" y="0"/>
                  </a:lnTo>
                  <a:lnTo>
                    <a:pt x="0"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1" name="Graphic 4">
              <a:extLst>
                <a:ext uri="{FF2B5EF4-FFF2-40B4-BE49-F238E27FC236}">
                  <a16:creationId xmlns:a16="http://schemas.microsoft.com/office/drawing/2014/main" id="{C5290677-60A7-ABA8-E251-376F399D4C33}"/>
                </a:ext>
              </a:extLst>
            </p:cNvPr>
            <p:cNvSpPr/>
            <p:nvPr/>
          </p:nvSpPr>
          <p:spPr>
            <a:xfrm>
              <a:off x="10324860"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6492 w 361670"/>
                <a:gd name="connsiteY5" fmla="*/ 215779 h 361333"/>
                <a:gd name="connsiteX6" fmla="*/ 290103 w 361670"/>
                <a:gd name="connsiteY6" fmla="*/ 222163 h 361333"/>
                <a:gd name="connsiteX7" fmla="*/ 263904 w 361670"/>
                <a:gd name="connsiteY7" fmla="*/ 222163 h 361333"/>
                <a:gd name="connsiteX8" fmla="*/ 261348 w 361670"/>
                <a:gd name="connsiteY8" fmla="*/ 221524 h 361333"/>
                <a:gd name="connsiteX9" fmla="*/ 261348 w 361670"/>
                <a:gd name="connsiteY9" fmla="*/ 250252 h 361333"/>
                <a:gd name="connsiteX10" fmla="*/ 254958 w 361670"/>
                <a:gd name="connsiteY10" fmla="*/ 256636 h 361333"/>
                <a:gd name="connsiteX11" fmla="*/ 72206 w 361670"/>
                <a:gd name="connsiteY11" fmla="*/ 256636 h 361333"/>
                <a:gd name="connsiteX12" fmla="*/ 65816 w 361670"/>
                <a:gd name="connsiteY12" fmla="*/ 250252 h 361333"/>
                <a:gd name="connsiteX13" fmla="*/ 65816 w 361670"/>
                <a:gd name="connsiteY13" fmla="*/ 146193 h 361333"/>
                <a:gd name="connsiteX14" fmla="*/ 72206 w 361670"/>
                <a:gd name="connsiteY14" fmla="*/ 139809 h 361333"/>
                <a:gd name="connsiteX15" fmla="*/ 100322 w 361670"/>
                <a:gd name="connsiteY15" fmla="*/ 139809 h 361333"/>
                <a:gd name="connsiteX16" fmla="*/ 100322 w 361670"/>
                <a:gd name="connsiteY16" fmla="*/ 111720 h 361333"/>
                <a:gd name="connsiteX17" fmla="*/ 106712 w 361670"/>
                <a:gd name="connsiteY17" fmla="*/ 105336 h 361333"/>
                <a:gd name="connsiteX18" fmla="*/ 289464 w 361670"/>
                <a:gd name="connsiteY18" fmla="*/ 105336 h 361333"/>
                <a:gd name="connsiteX19" fmla="*/ 295854 w 361670"/>
                <a:gd name="connsiteY19" fmla="*/ 111720 h 361333"/>
                <a:gd name="connsiteX20" fmla="*/ 295854 w 361670"/>
                <a:gd name="connsiteY20" fmla="*/ 21577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96492" y="215779"/>
                  </a:moveTo>
                  <a:cubicBezTo>
                    <a:pt x="296492" y="219609"/>
                    <a:pt x="293937" y="222163"/>
                    <a:pt x="290103" y="222163"/>
                  </a:cubicBezTo>
                  <a:lnTo>
                    <a:pt x="263904" y="222163"/>
                  </a:lnTo>
                  <a:cubicBezTo>
                    <a:pt x="263265" y="222163"/>
                    <a:pt x="262626" y="222163"/>
                    <a:pt x="261348" y="221524"/>
                  </a:cubicBezTo>
                  <a:lnTo>
                    <a:pt x="261348" y="250252"/>
                  </a:lnTo>
                  <a:cubicBezTo>
                    <a:pt x="261348" y="254082"/>
                    <a:pt x="258792" y="256636"/>
                    <a:pt x="254958" y="256636"/>
                  </a:cubicBezTo>
                  <a:lnTo>
                    <a:pt x="72206" y="256636"/>
                  </a:lnTo>
                  <a:cubicBezTo>
                    <a:pt x="68372" y="256636"/>
                    <a:pt x="65816" y="254082"/>
                    <a:pt x="65816" y="250252"/>
                  </a:cubicBezTo>
                  <a:lnTo>
                    <a:pt x="65816" y="146193"/>
                  </a:lnTo>
                  <a:cubicBezTo>
                    <a:pt x="65816" y="142363"/>
                    <a:pt x="68372" y="139809"/>
                    <a:pt x="72206" y="139809"/>
                  </a:cubicBezTo>
                  <a:lnTo>
                    <a:pt x="100322" y="139809"/>
                  </a:lnTo>
                  <a:lnTo>
                    <a:pt x="100322" y="111720"/>
                  </a:lnTo>
                  <a:cubicBezTo>
                    <a:pt x="100322" y="107889"/>
                    <a:pt x="102878" y="105336"/>
                    <a:pt x="106712" y="105336"/>
                  </a:cubicBezTo>
                  <a:lnTo>
                    <a:pt x="289464" y="105336"/>
                  </a:lnTo>
                  <a:cubicBezTo>
                    <a:pt x="293298" y="105336"/>
                    <a:pt x="295854" y="107889"/>
                    <a:pt x="295854" y="111720"/>
                  </a:cubicBezTo>
                  <a:lnTo>
                    <a:pt x="295854" y="21577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22" name="TextBox 21">
            <a:extLst>
              <a:ext uri="{FF2B5EF4-FFF2-40B4-BE49-F238E27FC236}">
                <a16:creationId xmlns:a16="http://schemas.microsoft.com/office/drawing/2014/main" id="{D9743541-6F05-4DE2-5BD1-421FA91090BB}"/>
              </a:ext>
            </a:extLst>
          </p:cNvPr>
          <p:cNvSpPr txBox="1"/>
          <p:nvPr/>
        </p:nvSpPr>
        <p:spPr>
          <a:xfrm>
            <a:off x="1428276" y="2233120"/>
            <a:ext cx="4360618" cy="474489"/>
          </a:xfrm>
          <a:prstGeom prst="rect">
            <a:avLst/>
          </a:prstGeom>
          <a:noFill/>
        </p:spPr>
        <p:txBody>
          <a:bodyPr wrap="square">
            <a:sp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                               </a:t>
            </a:r>
            <a:r>
              <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PPA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διακανονισμός</a:t>
            </a:r>
          </a:p>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Διακανονισμός διαφοράς τιμής συμβολαίου με τιμή αγοράς</a:t>
            </a:r>
            <a:endPar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23" name="Textbox 38">
            <a:extLst>
              <a:ext uri="{FF2B5EF4-FFF2-40B4-BE49-F238E27FC236}">
                <a16:creationId xmlns:a16="http://schemas.microsoft.com/office/drawing/2014/main" id="{5168FC24-39B6-4865-58E7-FAA789791F58}"/>
              </a:ext>
            </a:extLst>
          </p:cNvPr>
          <p:cNvSpPr txBox="1"/>
          <p:nvPr/>
        </p:nvSpPr>
        <p:spPr>
          <a:xfrm>
            <a:off x="2123800" y="255022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24" name="Textbox 38">
            <a:extLst>
              <a:ext uri="{FF2B5EF4-FFF2-40B4-BE49-F238E27FC236}">
                <a16:creationId xmlns:a16="http://schemas.microsoft.com/office/drawing/2014/main" id="{0C86606E-46E8-3F81-21E7-26FA329FC6B0}"/>
              </a:ext>
            </a:extLst>
          </p:cNvPr>
          <p:cNvSpPr txBox="1"/>
          <p:nvPr/>
        </p:nvSpPr>
        <p:spPr>
          <a:xfrm>
            <a:off x="2123799" y="2495005"/>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Tree>
    <p:custDataLst>
      <p:custData r:id="rId1"/>
      <p:custData r:id="rId2"/>
    </p:custDataLst>
    <p:extLst>
      <p:ext uri="{BB962C8B-B14F-4D97-AF65-F5344CB8AC3E}">
        <p14:creationId xmlns:p14="http://schemas.microsoft.com/office/powerpoint/2010/main" val="281509494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F0D96C4C-1702-A667-AFF8-0AEC03293B0F}"/>
              </a:ext>
            </a:extLst>
          </p:cNvPr>
          <p:cNvSpPr txBox="1">
            <a:spLocks/>
          </p:cNvSpPr>
          <p:nvPr/>
        </p:nvSpPr>
        <p:spPr>
          <a:xfrm>
            <a:off x="6394100" y="1656012"/>
            <a:ext cx="5328000" cy="4962671"/>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buSzPts val="850"/>
            </a:pPr>
            <a:r>
              <a:rPr lang="el-GR" sz="1400" b="1">
                <a:solidFill>
                  <a:schemeClr val="accent2"/>
                </a:solidFill>
                <a:latin typeface="Calibri" panose="020F0502020204030204" pitchFamily="34" charset="0"/>
                <a:cs typeface="Calibri" panose="020F0502020204030204" pitchFamily="34" charset="0"/>
              </a:rPr>
              <a:t>Πρακτικό παράδειγμα </a:t>
            </a:r>
            <a:r>
              <a:rPr lang="en-US" sz="1400" b="1">
                <a:solidFill>
                  <a:schemeClr val="accent2"/>
                </a:solidFill>
                <a:latin typeface="Calibri" panose="020F0502020204030204" pitchFamily="34" charset="0"/>
                <a:cs typeface="Calibri" panose="020F0502020204030204" pitchFamily="34" charset="0"/>
              </a:rPr>
              <a:t>PPA (physical </a:t>
            </a:r>
            <a:r>
              <a:rPr lang="el-GR" sz="1400" b="1">
                <a:solidFill>
                  <a:schemeClr val="accent2"/>
                </a:solidFill>
                <a:latin typeface="Calibri" panose="020F0502020204030204" pitchFamily="34" charset="0"/>
                <a:cs typeface="Calibri" panose="020F0502020204030204" pitchFamily="34" charset="0"/>
              </a:rPr>
              <a:t>και </a:t>
            </a:r>
            <a:r>
              <a:rPr lang="en-US" sz="1400" b="1">
                <a:solidFill>
                  <a:schemeClr val="accent2"/>
                </a:solidFill>
                <a:latin typeface="Calibri" panose="020F0502020204030204" pitchFamily="34" charset="0"/>
                <a:cs typeface="Calibri" panose="020F0502020204030204" pitchFamily="34" charset="0"/>
              </a:rPr>
              <a:t>virtual/financial)</a:t>
            </a:r>
          </a:p>
          <a:p>
            <a:pPr marL="285750" indent="-285750">
              <a:buSzPts val="850"/>
              <a:buFont typeface="Wingdings" panose="05000000000000000000" pitchFamily="2" charset="2"/>
              <a:buChar char="q"/>
            </a:pPr>
            <a:r>
              <a:rPr lang="el-GR" sz="1400">
                <a:latin typeface="Calibri" panose="020F0502020204030204" pitchFamily="34" charset="0"/>
                <a:cs typeface="Calibri" panose="020F0502020204030204" pitchFamily="34" charset="0"/>
              </a:rPr>
              <a:t>Συμφωνηθείσα τιμή πώλησης/αγοράς ενέργειας </a:t>
            </a:r>
            <a:r>
              <a:rPr lang="en-US" sz="1400">
                <a:latin typeface="Calibri" panose="020F0502020204030204" pitchFamily="34" charset="0"/>
                <a:cs typeface="Calibri" panose="020F0502020204030204" pitchFamily="34" charset="0"/>
              </a:rPr>
              <a:t>PPA</a:t>
            </a:r>
            <a:r>
              <a:rPr lang="el-GR" sz="1400">
                <a:latin typeface="Calibri" panose="020F0502020204030204" pitchFamily="34" charset="0"/>
                <a:cs typeface="Calibri" panose="020F0502020204030204" pitchFamily="34" charset="0"/>
              </a:rPr>
              <a:t>: </a:t>
            </a:r>
            <a:r>
              <a:rPr lang="el-GR" sz="1400" b="1">
                <a:latin typeface="Calibri" panose="020F0502020204030204" pitchFamily="34" charset="0"/>
                <a:cs typeface="Calibri" panose="020F0502020204030204" pitchFamily="34" charset="0"/>
              </a:rPr>
              <a:t>150€/Μ</a:t>
            </a:r>
            <a:r>
              <a:rPr lang="en-US" sz="1400" b="1">
                <a:latin typeface="Calibri" panose="020F0502020204030204" pitchFamily="34" charset="0"/>
                <a:cs typeface="Calibri" panose="020F0502020204030204" pitchFamily="34" charset="0"/>
              </a:rPr>
              <a:t>W</a:t>
            </a:r>
            <a:r>
              <a:rPr lang="el-GR" sz="1400" b="1">
                <a:latin typeface="Calibri" panose="020F0502020204030204" pitchFamily="34" charset="0"/>
                <a:cs typeface="Calibri" panose="020F0502020204030204" pitchFamily="34" charset="0"/>
              </a:rPr>
              <a:t> </a:t>
            </a:r>
          </a:p>
          <a:p>
            <a:pPr marL="285750" indent="-285750">
              <a:buSzPts val="850"/>
              <a:buFont typeface="Wingdings" panose="05000000000000000000" pitchFamily="2" charset="2"/>
              <a:buChar char="q"/>
            </a:pPr>
            <a:r>
              <a:rPr lang="el-GR" sz="1400">
                <a:latin typeface="Calibri" panose="020F0502020204030204" pitchFamily="34" charset="0"/>
                <a:cs typeface="Calibri" panose="020F0502020204030204" pitchFamily="34" charset="0"/>
              </a:rPr>
              <a:t>Τιμή Εκκαθάρισης της Αγοράς: </a:t>
            </a:r>
            <a:r>
              <a:rPr lang="el-GR" sz="1400" b="1">
                <a:latin typeface="Calibri" panose="020F0502020204030204" pitchFamily="34" charset="0"/>
                <a:cs typeface="Calibri" panose="020F0502020204030204" pitchFamily="34" charset="0"/>
              </a:rPr>
              <a:t>100€/</a:t>
            </a:r>
            <a:r>
              <a:rPr lang="en-US" sz="1400" b="1">
                <a:latin typeface="Calibri" panose="020F0502020204030204" pitchFamily="34" charset="0"/>
                <a:cs typeface="Calibri" panose="020F0502020204030204" pitchFamily="34" charset="0"/>
              </a:rPr>
              <a:t>MW</a:t>
            </a:r>
          </a:p>
          <a:p>
            <a:pPr marL="285750" indent="-285750">
              <a:buSzPts val="850"/>
              <a:buFont typeface="Wingdings" panose="05000000000000000000" pitchFamily="2" charset="2"/>
              <a:buChar char="q"/>
            </a:pPr>
            <a:r>
              <a:rPr lang="el-GR" sz="1400" b="1">
                <a:solidFill>
                  <a:schemeClr val="accent2"/>
                </a:solidFill>
                <a:latin typeface="Calibri" panose="020F0502020204030204" pitchFamily="34" charset="0"/>
                <a:cs typeface="Calibri" panose="020F0502020204030204" pitchFamily="34" charset="0"/>
              </a:rPr>
              <a:t>Άρα τιμή συμβολαίου &gt; Τιμή αγοράς</a:t>
            </a:r>
          </a:p>
          <a:p>
            <a:pPr marL="285750" indent="-285750">
              <a:buSzPts val="850"/>
              <a:buFont typeface="Wingdings" panose="05000000000000000000" pitchFamily="2" charset="2"/>
              <a:buChar char="q"/>
            </a:pPr>
            <a:r>
              <a:rPr lang="el-GR" sz="1400">
                <a:latin typeface="Calibri" panose="020F0502020204030204" pitchFamily="34" charset="0"/>
                <a:cs typeface="Calibri" panose="020F0502020204030204" pitchFamily="34" charset="0"/>
              </a:rPr>
              <a:t>Ο Πωλητής θα λάβει από την αγορά 100€/</a:t>
            </a:r>
            <a:r>
              <a:rPr lang="en-US" sz="1400">
                <a:latin typeface="Calibri" panose="020F0502020204030204" pitchFamily="34" charset="0"/>
                <a:cs typeface="Calibri" panose="020F0502020204030204" pitchFamily="34" charset="0"/>
              </a:rPr>
              <a:t>MW</a:t>
            </a:r>
            <a:r>
              <a:rPr lang="el-GR" sz="1400">
                <a:latin typeface="Calibri" panose="020F0502020204030204" pitchFamily="34" charset="0"/>
                <a:cs typeface="Calibri" panose="020F0502020204030204" pitchFamily="34" charset="0"/>
              </a:rPr>
              <a:t> και ο Αγοραστής θα καταβάλει στην αγορά/ ΕΧΕ 100€/</a:t>
            </a:r>
            <a:r>
              <a:rPr lang="en-US" sz="1400">
                <a:latin typeface="Calibri" panose="020F0502020204030204" pitchFamily="34" charset="0"/>
                <a:cs typeface="Calibri" panose="020F0502020204030204" pitchFamily="34" charset="0"/>
              </a:rPr>
              <a:t>MW</a:t>
            </a:r>
            <a:r>
              <a:rPr lang="el-GR" sz="1400">
                <a:latin typeface="Calibri" panose="020F0502020204030204" pitchFamily="34" charset="0"/>
                <a:cs typeface="Calibri" panose="020F0502020204030204" pitchFamily="34" charset="0"/>
              </a:rPr>
              <a:t>.</a:t>
            </a:r>
          </a:p>
          <a:p>
            <a:pPr marL="285750" indent="-285750">
              <a:buSzPts val="850"/>
              <a:buFont typeface="Wingdings" panose="05000000000000000000" pitchFamily="2" charset="2"/>
              <a:buChar char="q"/>
            </a:pPr>
            <a:r>
              <a:rPr lang="el-GR" sz="1400">
                <a:latin typeface="Calibri" panose="020F0502020204030204" pitchFamily="34" charset="0"/>
                <a:cs typeface="Calibri" panose="020F0502020204030204" pitchFamily="34" charset="0"/>
              </a:rPr>
              <a:t>Ο Αγοραστής θα πρέπει να καταβάλει στον Πωλητή 50€/Μ</a:t>
            </a:r>
            <a:r>
              <a:rPr lang="en-US" sz="1400">
                <a:latin typeface="Calibri" panose="020F0502020204030204" pitchFamily="34" charset="0"/>
                <a:cs typeface="Calibri" panose="020F0502020204030204" pitchFamily="34" charset="0"/>
              </a:rPr>
              <a:t>W </a:t>
            </a:r>
            <a:r>
              <a:rPr lang="el-GR" sz="1400">
                <a:latin typeface="Calibri" panose="020F0502020204030204" pitchFamily="34" charset="0"/>
                <a:cs typeface="Calibri" panose="020F0502020204030204" pitchFamily="34" charset="0"/>
              </a:rPr>
              <a:t>βάσει της μεταξύ τους σύμβασης. </a:t>
            </a:r>
          </a:p>
          <a:p>
            <a:pPr>
              <a:lnSpc>
                <a:spcPct val="115000"/>
              </a:lnSpc>
              <a:buSzPts val="850"/>
            </a:pPr>
            <a:r>
              <a:rPr lang="el-GR" sz="1400" b="1">
                <a:solidFill>
                  <a:schemeClr val="accent2"/>
                </a:solidFill>
                <a:latin typeface="Calibri" panose="020F0502020204030204" pitchFamily="34" charset="0"/>
                <a:cs typeface="Calibri" panose="020F0502020204030204" pitchFamily="34" charset="0"/>
              </a:rPr>
              <a:t>Φορολογικές Επιπτώσεις στο επίπεδο του Πωλητή</a:t>
            </a:r>
          </a:p>
          <a:p>
            <a:pPr marL="171450" indent="-171450">
              <a:spcAft>
                <a:spcPts val="600"/>
              </a:spcAft>
              <a:buFont typeface="Arial" panose="020B0604020202020204" pitchFamily="34" charset="0"/>
              <a:buChar char="•"/>
            </a:pPr>
            <a:r>
              <a:rPr lang="el-GR" sz="1400" b="1">
                <a:latin typeface="Calibri" panose="020F0502020204030204" pitchFamily="34" charset="0"/>
                <a:cs typeface="Calibri" panose="020F0502020204030204" pitchFamily="34" charset="0"/>
              </a:rPr>
              <a:t>22% φόρος εισοδήματος </a:t>
            </a:r>
            <a:r>
              <a:rPr lang="el-GR" sz="1400">
                <a:latin typeface="Calibri" panose="020F0502020204030204" pitchFamily="34" charset="0"/>
                <a:cs typeface="Calibri" panose="020F0502020204030204" pitchFamily="34" charset="0"/>
              </a:rPr>
              <a:t>επί των κερδών από την πώληση (επιπλέον της διαφοράς)</a:t>
            </a:r>
            <a:endParaRPr lang="en-US" sz="1400">
              <a:latin typeface="Calibri" panose="020F0502020204030204" pitchFamily="34" charset="0"/>
              <a:cs typeface="Calibri" panose="020F0502020204030204" pitchFamily="34" charset="0"/>
            </a:endParaRPr>
          </a:p>
          <a:p>
            <a:pPr marL="171450" indent="-171450">
              <a:spcAft>
                <a:spcPts val="600"/>
              </a:spcAft>
              <a:buFont typeface="Arial" panose="020B0604020202020204" pitchFamily="34" charset="0"/>
              <a:buChar char="•"/>
            </a:pPr>
            <a:r>
              <a:rPr lang="en-US" sz="1400" b="1">
                <a:latin typeface="Calibri" panose="020F0502020204030204" pitchFamily="34" charset="0"/>
                <a:cs typeface="Calibri" panose="020F0502020204030204" pitchFamily="34" charset="0"/>
              </a:rPr>
              <a:t>15% </a:t>
            </a:r>
            <a:r>
              <a:rPr lang="el-GR" sz="1400" b="1">
                <a:latin typeface="Calibri" panose="020F0502020204030204" pitchFamily="34" charset="0"/>
                <a:cs typeface="Calibri" panose="020F0502020204030204" pitchFamily="34" charset="0"/>
              </a:rPr>
              <a:t>φόρος υπεραξίας </a:t>
            </a:r>
            <a:r>
              <a:rPr lang="el-GR" sz="1400">
                <a:latin typeface="Calibri" panose="020F0502020204030204" pitchFamily="34" charset="0"/>
                <a:cs typeface="Calibri" panose="020F0502020204030204" pitchFamily="34" charset="0"/>
              </a:rPr>
              <a:t>κατά την πώληση των τις Εγγυήσεις Προέλευσης ή Πιστοποιητικά Ανανεώσιμων Πηγών (GoOs/RECs) εφόσον προκύπτει.</a:t>
            </a:r>
          </a:p>
          <a:p>
            <a:pPr marL="171450" indent="-171450">
              <a:spcAft>
                <a:spcPts val="600"/>
              </a:spcAft>
              <a:buFont typeface="Arial" panose="020B0604020202020204" pitchFamily="34" charset="0"/>
              <a:buChar char="•"/>
            </a:pPr>
            <a:r>
              <a:rPr lang="el-GR" sz="1400" b="1">
                <a:latin typeface="Calibri" panose="020F0502020204030204" pitchFamily="34" charset="0"/>
                <a:cs typeface="Calibri" panose="020F0502020204030204" pitchFamily="34" charset="0"/>
              </a:rPr>
              <a:t>6 ή 0% ΦΠΑ</a:t>
            </a:r>
            <a:r>
              <a:rPr lang="el-GR" sz="1400">
                <a:latin typeface="Calibri" panose="020F0502020204030204" pitchFamily="34" charset="0"/>
                <a:cs typeface="Calibri" panose="020F0502020204030204" pitchFamily="34" charset="0"/>
              </a:rPr>
              <a:t>, ανάλογα με τον κατάλληλο χαρακτηρισμό των </a:t>
            </a:r>
            <a:r>
              <a:rPr lang="en-US" sz="1400">
                <a:latin typeface="Calibri" panose="020F0502020204030204" pitchFamily="34" charset="0"/>
                <a:cs typeface="Calibri" panose="020F0502020204030204" pitchFamily="34" charset="0"/>
              </a:rPr>
              <a:t>PPA’s</a:t>
            </a:r>
            <a:r>
              <a:rPr lang="el-GR" sz="1400">
                <a:latin typeface="Calibri" panose="020F0502020204030204" pitchFamily="34" charset="0"/>
                <a:cs typeface="Calibri" panose="020F0502020204030204" pitchFamily="34" charset="0"/>
              </a:rPr>
              <a:t> από πλευράς ΦΠΑ στην Ελλάδα.</a:t>
            </a:r>
            <a:endParaRPr lang="en-US" sz="1400">
              <a:latin typeface="Calibri" panose="020F0502020204030204" pitchFamily="34" charset="0"/>
              <a:cs typeface="Calibri" panose="020F0502020204030204" pitchFamily="34" charset="0"/>
            </a:endParaRPr>
          </a:p>
          <a:p>
            <a:pPr>
              <a:buSzPts val="850"/>
            </a:pPr>
            <a:endParaRPr lang="en-US" sz="1400">
              <a:latin typeface="Calibri" panose="020F0502020204030204" pitchFamily="34" charset="0"/>
              <a:cs typeface="Calibri" panose="020F0502020204030204" pitchFamily="34" charset="0"/>
            </a:endParaRPr>
          </a:p>
          <a:p>
            <a:pPr marL="171450" indent="-171450">
              <a:lnSpc>
                <a:spcPct val="115000"/>
              </a:lnSpc>
              <a:buFont typeface="Arial" panose="020B0604020202020204" pitchFamily="34" charset="0"/>
              <a:buChar char="•"/>
            </a:pPr>
            <a:endParaRPr lang="el-GR" sz="1400">
              <a:latin typeface="Calibri" panose="020F0502020204030204" pitchFamily="34" charset="0"/>
              <a:ea typeface="Calibri Light" panose="020F0302020204030204" pitchFamily="34" charset="0"/>
              <a:cs typeface="Calibri" panose="020F0502020204030204" pitchFamily="34" charset="0"/>
            </a:endParaRPr>
          </a:p>
          <a:p>
            <a:pPr>
              <a:spcAft>
                <a:spcPts val="600"/>
              </a:spcAft>
            </a:pPr>
            <a:endParaRPr lang="en-US" sz="1200" dirty="0">
              <a:latin typeface="Calibri" panose="020F0502020204030204" pitchFamily="34" charset="0"/>
              <a:cs typeface="Calibri" panose="020F0502020204030204" pitchFamily="34" charset="0"/>
            </a:endParaRPr>
          </a:p>
        </p:txBody>
      </p:sp>
      <p:sp>
        <p:nvSpPr>
          <p:cNvPr id="3" name="Text Placeholder 3">
            <a:extLst>
              <a:ext uri="{FF2B5EF4-FFF2-40B4-BE49-F238E27FC236}">
                <a16:creationId xmlns:a16="http://schemas.microsoft.com/office/drawing/2014/main" id="{02EFCDC5-CC81-4D57-A954-0F49D123F8FC}"/>
              </a:ext>
            </a:extLst>
          </p:cNvPr>
          <p:cNvSpPr txBox="1">
            <a:spLocks/>
          </p:cNvSpPr>
          <p:nvPr/>
        </p:nvSpPr>
        <p:spPr>
          <a:xfrm>
            <a:off x="469903" y="736701"/>
            <a:ext cx="11252200" cy="75725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1219170"/>
            <a:r>
              <a:rPr lang="el-GR" sz="1800">
                <a:latin typeface="Calibri" panose="020F0502020204030204" pitchFamily="34" charset="0"/>
                <a:cs typeface="Calibri" panose="020F0502020204030204" pitchFamily="34" charset="0"/>
              </a:rPr>
              <a:t>Πρακτικό Παράδειγμα 2</a:t>
            </a:r>
            <a:endParaRPr lang="en-US" sz="1800" dirty="0">
              <a:latin typeface="Calibri" panose="020F0502020204030204" pitchFamily="34" charset="0"/>
              <a:cs typeface="Calibri" panose="020F0502020204030204" pitchFamily="34" charset="0"/>
            </a:endParaRPr>
          </a:p>
        </p:txBody>
      </p:sp>
      <p:sp>
        <p:nvSpPr>
          <p:cNvPr id="4" name="Title 4">
            <a:extLst>
              <a:ext uri="{FF2B5EF4-FFF2-40B4-BE49-F238E27FC236}">
                <a16:creationId xmlns:a16="http://schemas.microsoft.com/office/drawing/2014/main" id="{354BA42A-ACD9-BDFB-FA75-D4A1777FFC8F}"/>
              </a:ext>
            </a:extLst>
          </p:cNvPr>
          <p:cNvSpPr txBox="1">
            <a:spLocks/>
          </p:cNvSpPr>
          <p:nvPr/>
        </p:nvSpPr>
        <p:spPr>
          <a:xfrm>
            <a:off x="469903" y="402598"/>
            <a:ext cx="11252200"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l-GR" sz="2000">
                <a:latin typeface="Calibri" panose="020F0502020204030204" pitchFamily="34" charset="0"/>
                <a:cs typeface="Calibri" panose="020F0502020204030204" pitchFamily="34" charset="0"/>
              </a:rPr>
              <a:t>Διμερής συμφωνίες πώλησης ενέργειας (</a:t>
            </a:r>
            <a:r>
              <a:rPr lang="en-US" sz="2000">
                <a:latin typeface="Calibri" panose="020F0502020204030204" pitchFamily="34" charset="0"/>
                <a:cs typeface="Calibri" panose="020F0502020204030204" pitchFamily="34" charset="0"/>
              </a:rPr>
              <a:t>PPA’s)</a:t>
            </a:r>
            <a:endParaRPr lang="en-US" sz="2000" dirty="0">
              <a:latin typeface="Calibri" panose="020F0502020204030204" pitchFamily="34" charset="0"/>
              <a:cs typeface="Calibri" panose="020F0502020204030204" pitchFamily="34" charset="0"/>
            </a:endParaRPr>
          </a:p>
        </p:txBody>
      </p:sp>
      <p:grpSp>
        <p:nvGrpSpPr>
          <p:cNvPr id="5" name="Graphic 4">
            <a:extLst>
              <a:ext uri="{FF2B5EF4-FFF2-40B4-BE49-F238E27FC236}">
                <a16:creationId xmlns:a16="http://schemas.microsoft.com/office/drawing/2014/main" id="{BB73EACE-4741-941C-6823-E54607A16DF3}"/>
              </a:ext>
            </a:extLst>
          </p:cNvPr>
          <p:cNvGrpSpPr/>
          <p:nvPr/>
        </p:nvGrpSpPr>
        <p:grpSpPr>
          <a:xfrm>
            <a:off x="2001790" y="1807183"/>
            <a:ext cx="388310" cy="446646"/>
            <a:chOff x="10324860" y="1402085"/>
            <a:chExt cx="361670" cy="361333"/>
          </a:xfrm>
          <a:solidFill>
            <a:schemeClr val="accent4"/>
          </a:solidFill>
        </p:grpSpPr>
        <p:sp>
          <p:nvSpPr>
            <p:cNvPr id="6" name="Graphic 4">
              <a:extLst>
                <a:ext uri="{FF2B5EF4-FFF2-40B4-BE49-F238E27FC236}">
                  <a16:creationId xmlns:a16="http://schemas.microsoft.com/office/drawing/2014/main" id="{F791E583-598E-7B4B-49D8-4094AD7807A4}"/>
                </a:ext>
              </a:extLst>
            </p:cNvPr>
            <p:cNvSpPr/>
            <p:nvPr/>
          </p:nvSpPr>
          <p:spPr>
            <a:xfrm>
              <a:off x="10403456" y="1554662"/>
              <a:ext cx="169972" cy="91291"/>
            </a:xfrm>
            <a:custGeom>
              <a:avLst/>
              <a:gdLst>
                <a:gd name="connsiteX0" fmla="*/ 0 w 169972"/>
                <a:gd name="connsiteY0" fmla="*/ 0 h 91291"/>
                <a:gd name="connsiteX1" fmla="*/ 0 w 169972"/>
                <a:gd name="connsiteY1" fmla="*/ 91291 h 91291"/>
                <a:gd name="connsiteX2" fmla="*/ 169972 w 169972"/>
                <a:gd name="connsiteY2" fmla="*/ 91291 h 91291"/>
                <a:gd name="connsiteX3" fmla="*/ 169972 w 169972"/>
                <a:gd name="connsiteY3" fmla="*/ 0 h 91291"/>
                <a:gd name="connsiteX4" fmla="*/ 0 w 169972"/>
                <a:gd name="connsiteY4" fmla="*/ 0 h 91291"/>
                <a:gd name="connsiteX5" fmla="*/ 84986 w 169972"/>
                <a:gd name="connsiteY5" fmla="*/ 51072 h 91291"/>
                <a:gd name="connsiteX6" fmla="*/ 68373 w 169972"/>
                <a:gd name="connsiteY6" fmla="*/ 34474 h 91291"/>
                <a:gd name="connsiteX7" fmla="*/ 80513 w 169972"/>
                <a:gd name="connsiteY7" fmla="*/ 18514 h 91291"/>
                <a:gd name="connsiteX8" fmla="*/ 80513 w 169972"/>
                <a:gd name="connsiteY8" fmla="*/ 14683 h 91291"/>
                <a:gd name="connsiteX9" fmla="*/ 85625 w 169972"/>
                <a:gd name="connsiteY9" fmla="*/ 9576 h 91291"/>
                <a:gd name="connsiteX10" fmla="*/ 90738 w 169972"/>
                <a:gd name="connsiteY10" fmla="*/ 14683 h 91291"/>
                <a:gd name="connsiteX11" fmla="*/ 90738 w 169972"/>
                <a:gd name="connsiteY11" fmla="*/ 18514 h 91291"/>
                <a:gd name="connsiteX12" fmla="*/ 102878 w 169972"/>
                <a:gd name="connsiteY12" fmla="*/ 34474 h 91291"/>
                <a:gd name="connsiteX13" fmla="*/ 97766 w 169972"/>
                <a:gd name="connsiteY13" fmla="*/ 39581 h 91291"/>
                <a:gd name="connsiteX14" fmla="*/ 92654 w 169972"/>
                <a:gd name="connsiteY14" fmla="*/ 34474 h 91291"/>
                <a:gd name="connsiteX15" fmla="*/ 85625 w 169972"/>
                <a:gd name="connsiteY15" fmla="*/ 27451 h 91291"/>
                <a:gd name="connsiteX16" fmla="*/ 78597 w 169972"/>
                <a:gd name="connsiteY16" fmla="*/ 34474 h 91291"/>
                <a:gd name="connsiteX17" fmla="*/ 85625 w 169972"/>
                <a:gd name="connsiteY17" fmla="*/ 41496 h 91291"/>
                <a:gd name="connsiteX18" fmla="*/ 102239 w 169972"/>
                <a:gd name="connsiteY18" fmla="*/ 58094 h 91291"/>
                <a:gd name="connsiteX19" fmla="*/ 90098 w 169972"/>
                <a:gd name="connsiteY19" fmla="*/ 74054 h 91291"/>
                <a:gd name="connsiteX20" fmla="*/ 90098 w 169972"/>
                <a:gd name="connsiteY20" fmla="*/ 77885 h 91291"/>
                <a:gd name="connsiteX21" fmla="*/ 84986 w 169972"/>
                <a:gd name="connsiteY21" fmla="*/ 82992 h 91291"/>
                <a:gd name="connsiteX22" fmla="*/ 79874 w 169972"/>
                <a:gd name="connsiteY22" fmla="*/ 77885 h 91291"/>
                <a:gd name="connsiteX23" fmla="*/ 79874 w 169972"/>
                <a:gd name="connsiteY23" fmla="*/ 74054 h 91291"/>
                <a:gd name="connsiteX24" fmla="*/ 67733 w 169972"/>
                <a:gd name="connsiteY24" fmla="*/ 58094 h 91291"/>
                <a:gd name="connsiteX25" fmla="*/ 72845 w 169972"/>
                <a:gd name="connsiteY25" fmla="*/ 52987 h 91291"/>
                <a:gd name="connsiteX26" fmla="*/ 77958 w 169972"/>
                <a:gd name="connsiteY26" fmla="*/ 58094 h 91291"/>
                <a:gd name="connsiteX27" fmla="*/ 84986 w 169972"/>
                <a:gd name="connsiteY27" fmla="*/ 65117 h 91291"/>
                <a:gd name="connsiteX28" fmla="*/ 92015 w 169972"/>
                <a:gd name="connsiteY28" fmla="*/ 58094 h 91291"/>
                <a:gd name="connsiteX29" fmla="*/ 84986 w 169972"/>
                <a:gd name="connsiteY29" fmla="*/ 51072 h 9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9972" h="91291">
                  <a:moveTo>
                    <a:pt x="0" y="0"/>
                  </a:moveTo>
                  <a:lnTo>
                    <a:pt x="0" y="91291"/>
                  </a:lnTo>
                  <a:lnTo>
                    <a:pt x="169972" y="91291"/>
                  </a:lnTo>
                  <a:lnTo>
                    <a:pt x="169972" y="0"/>
                  </a:lnTo>
                  <a:lnTo>
                    <a:pt x="0" y="0"/>
                  </a:lnTo>
                  <a:close/>
                  <a:moveTo>
                    <a:pt x="84986" y="51072"/>
                  </a:moveTo>
                  <a:cubicBezTo>
                    <a:pt x="76040" y="51072"/>
                    <a:pt x="68373" y="43411"/>
                    <a:pt x="68373" y="34474"/>
                  </a:cubicBezTo>
                  <a:cubicBezTo>
                    <a:pt x="68373" y="26813"/>
                    <a:pt x="73484" y="20429"/>
                    <a:pt x="80513" y="18514"/>
                  </a:cubicBezTo>
                  <a:lnTo>
                    <a:pt x="80513" y="14683"/>
                  </a:lnTo>
                  <a:cubicBezTo>
                    <a:pt x="80513" y="12130"/>
                    <a:pt x="82430" y="9576"/>
                    <a:pt x="85625" y="9576"/>
                  </a:cubicBezTo>
                  <a:cubicBezTo>
                    <a:pt x="88820" y="9576"/>
                    <a:pt x="90738" y="11491"/>
                    <a:pt x="90738" y="14683"/>
                  </a:cubicBezTo>
                  <a:lnTo>
                    <a:pt x="90738" y="18514"/>
                  </a:lnTo>
                  <a:cubicBezTo>
                    <a:pt x="97766" y="20429"/>
                    <a:pt x="102878" y="26813"/>
                    <a:pt x="102878" y="34474"/>
                  </a:cubicBezTo>
                  <a:cubicBezTo>
                    <a:pt x="102878" y="37027"/>
                    <a:pt x="100961" y="39581"/>
                    <a:pt x="97766" y="39581"/>
                  </a:cubicBezTo>
                  <a:cubicBezTo>
                    <a:pt x="94571" y="39581"/>
                    <a:pt x="92654" y="37666"/>
                    <a:pt x="92654" y="34474"/>
                  </a:cubicBezTo>
                  <a:cubicBezTo>
                    <a:pt x="92654" y="30643"/>
                    <a:pt x="89459" y="27451"/>
                    <a:pt x="85625" y="27451"/>
                  </a:cubicBezTo>
                  <a:cubicBezTo>
                    <a:pt x="81792" y="27451"/>
                    <a:pt x="78597" y="30643"/>
                    <a:pt x="78597" y="34474"/>
                  </a:cubicBezTo>
                  <a:cubicBezTo>
                    <a:pt x="78597" y="38304"/>
                    <a:pt x="81792" y="41496"/>
                    <a:pt x="85625" y="41496"/>
                  </a:cubicBezTo>
                  <a:cubicBezTo>
                    <a:pt x="95210" y="41496"/>
                    <a:pt x="102239" y="49157"/>
                    <a:pt x="102239" y="58094"/>
                  </a:cubicBezTo>
                  <a:cubicBezTo>
                    <a:pt x="102239" y="65755"/>
                    <a:pt x="97128" y="72139"/>
                    <a:pt x="90098" y="74054"/>
                  </a:cubicBezTo>
                  <a:lnTo>
                    <a:pt x="90098" y="77885"/>
                  </a:lnTo>
                  <a:cubicBezTo>
                    <a:pt x="90098" y="80438"/>
                    <a:pt x="88181" y="82992"/>
                    <a:pt x="84986" y="82992"/>
                  </a:cubicBezTo>
                  <a:cubicBezTo>
                    <a:pt x="81792" y="82992"/>
                    <a:pt x="79874" y="81077"/>
                    <a:pt x="79874" y="77885"/>
                  </a:cubicBezTo>
                  <a:lnTo>
                    <a:pt x="79874" y="74054"/>
                  </a:lnTo>
                  <a:cubicBezTo>
                    <a:pt x="72845" y="72139"/>
                    <a:pt x="67733" y="65755"/>
                    <a:pt x="67733" y="58094"/>
                  </a:cubicBezTo>
                  <a:cubicBezTo>
                    <a:pt x="67733" y="55541"/>
                    <a:pt x="69650" y="52987"/>
                    <a:pt x="72845" y="52987"/>
                  </a:cubicBezTo>
                  <a:cubicBezTo>
                    <a:pt x="76040" y="52987"/>
                    <a:pt x="77958" y="54902"/>
                    <a:pt x="77958" y="58094"/>
                  </a:cubicBezTo>
                  <a:cubicBezTo>
                    <a:pt x="77958" y="61925"/>
                    <a:pt x="81153" y="65117"/>
                    <a:pt x="84986" y="65117"/>
                  </a:cubicBezTo>
                  <a:cubicBezTo>
                    <a:pt x="88820" y="65117"/>
                    <a:pt x="92015" y="61925"/>
                    <a:pt x="92015" y="58094"/>
                  </a:cubicBezTo>
                  <a:cubicBezTo>
                    <a:pt x="92654" y="54264"/>
                    <a:pt x="88820" y="51072"/>
                    <a:pt x="84986" y="5107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 name="Graphic 4">
              <a:extLst>
                <a:ext uri="{FF2B5EF4-FFF2-40B4-BE49-F238E27FC236}">
                  <a16:creationId xmlns:a16="http://schemas.microsoft.com/office/drawing/2014/main" id="{87064296-A614-CC0A-4C43-ACB4EC878620}"/>
                </a:ext>
              </a:extLst>
            </p:cNvPr>
            <p:cNvSpPr/>
            <p:nvPr/>
          </p:nvSpPr>
          <p:spPr>
            <a:xfrm>
              <a:off x="10438601" y="1520188"/>
              <a:ext cx="169972" cy="91929"/>
            </a:xfrm>
            <a:custGeom>
              <a:avLst/>
              <a:gdLst>
                <a:gd name="connsiteX0" fmla="*/ 0 w 169972"/>
                <a:gd name="connsiteY0" fmla="*/ 21706 h 91929"/>
                <a:gd name="connsiteX1" fmla="*/ 141217 w 169972"/>
                <a:gd name="connsiteY1" fmla="*/ 21706 h 91929"/>
                <a:gd name="connsiteX2" fmla="*/ 147607 w 169972"/>
                <a:gd name="connsiteY2" fmla="*/ 28089 h 91929"/>
                <a:gd name="connsiteX3" fmla="*/ 147607 w 169972"/>
                <a:gd name="connsiteY3" fmla="*/ 91929 h 91929"/>
                <a:gd name="connsiteX4" fmla="*/ 150164 w 169972"/>
                <a:gd name="connsiteY4" fmla="*/ 91291 h 91929"/>
                <a:gd name="connsiteX5" fmla="*/ 169972 w 169972"/>
                <a:gd name="connsiteY5" fmla="*/ 91291 h 91929"/>
                <a:gd name="connsiteX6" fmla="*/ 169972 w 169972"/>
                <a:gd name="connsiteY6" fmla="*/ 0 h 91929"/>
                <a:gd name="connsiteX7" fmla="*/ 0 w 169972"/>
                <a:gd name="connsiteY7" fmla="*/ 0 h 91929"/>
                <a:gd name="connsiteX8" fmla="*/ 0 w 169972"/>
                <a:gd name="connsiteY8" fmla="*/ 21706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72" h="91929">
                  <a:moveTo>
                    <a:pt x="0" y="21706"/>
                  </a:moveTo>
                  <a:lnTo>
                    <a:pt x="141217" y="21706"/>
                  </a:lnTo>
                  <a:cubicBezTo>
                    <a:pt x="145052" y="21706"/>
                    <a:pt x="147607" y="24259"/>
                    <a:pt x="147607" y="28089"/>
                  </a:cubicBezTo>
                  <a:lnTo>
                    <a:pt x="147607" y="91929"/>
                  </a:lnTo>
                  <a:cubicBezTo>
                    <a:pt x="148247" y="91929"/>
                    <a:pt x="148886" y="91291"/>
                    <a:pt x="150164" y="91291"/>
                  </a:cubicBezTo>
                  <a:lnTo>
                    <a:pt x="169972" y="91291"/>
                  </a:lnTo>
                  <a:lnTo>
                    <a:pt x="169972" y="0"/>
                  </a:lnTo>
                  <a:lnTo>
                    <a:pt x="0" y="0"/>
                  </a:lnTo>
                  <a:lnTo>
                    <a:pt x="0" y="217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8" name="Graphic 4">
              <a:extLst>
                <a:ext uri="{FF2B5EF4-FFF2-40B4-BE49-F238E27FC236}">
                  <a16:creationId xmlns:a16="http://schemas.microsoft.com/office/drawing/2014/main" id="{D3DB9B7D-7EC1-D406-7CB1-6629FE21921A}"/>
                </a:ext>
              </a:extLst>
            </p:cNvPr>
            <p:cNvSpPr/>
            <p:nvPr/>
          </p:nvSpPr>
          <p:spPr>
            <a:xfrm>
              <a:off x="10324860"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6492 w 361670"/>
                <a:gd name="connsiteY5" fmla="*/ 215779 h 361333"/>
                <a:gd name="connsiteX6" fmla="*/ 290103 w 361670"/>
                <a:gd name="connsiteY6" fmla="*/ 222163 h 361333"/>
                <a:gd name="connsiteX7" fmla="*/ 263904 w 361670"/>
                <a:gd name="connsiteY7" fmla="*/ 222163 h 361333"/>
                <a:gd name="connsiteX8" fmla="*/ 261348 w 361670"/>
                <a:gd name="connsiteY8" fmla="*/ 221524 h 361333"/>
                <a:gd name="connsiteX9" fmla="*/ 261348 w 361670"/>
                <a:gd name="connsiteY9" fmla="*/ 250252 h 361333"/>
                <a:gd name="connsiteX10" fmla="*/ 254958 w 361670"/>
                <a:gd name="connsiteY10" fmla="*/ 256636 h 361333"/>
                <a:gd name="connsiteX11" fmla="*/ 72206 w 361670"/>
                <a:gd name="connsiteY11" fmla="*/ 256636 h 361333"/>
                <a:gd name="connsiteX12" fmla="*/ 65816 w 361670"/>
                <a:gd name="connsiteY12" fmla="*/ 250252 h 361333"/>
                <a:gd name="connsiteX13" fmla="*/ 65816 w 361670"/>
                <a:gd name="connsiteY13" fmla="*/ 146193 h 361333"/>
                <a:gd name="connsiteX14" fmla="*/ 72206 w 361670"/>
                <a:gd name="connsiteY14" fmla="*/ 139809 h 361333"/>
                <a:gd name="connsiteX15" fmla="*/ 100322 w 361670"/>
                <a:gd name="connsiteY15" fmla="*/ 139809 h 361333"/>
                <a:gd name="connsiteX16" fmla="*/ 100322 w 361670"/>
                <a:gd name="connsiteY16" fmla="*/ 111720 h 361333"/>
                <a:gd name="connsiteX17" fmla="*/ 106712 w 361670"/>
                <a:gd name="connsiteY17" fmla="*/ 105336 h 361333"/>
                <a:gd name="connsiteX18" fmla="*/ 289464 w 361670"/>
                <a:gd name="connsiteY18" fmla="*/ 105336 h 361333"/>
                <a:gd name="connsiteX19" fmla="*/ 295854 w 361670"/>
                <a:gd name="connsiteY19" fmla="*/ 111720 h 361333"/>
                <a:gd name="connsiteX20" fmla="*/ 295854 w 361670"/>
                <a:gd name="connsiteY20" fmla="*/ 21577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296492" y="215779"/>
                  </a:moveTo>
                  <a:cubicBezTo>
                    <a:pt x="296492" y="219609"/>
                    <a:pt x="293937" y="222163"/>
                    <a:pt x="290103" y="222163"/>
                  </a:cubicBezTo>
                  <a:lnTo>
                    <a:pt x="263904" y="222163"/>
                  </a:lnTo>
                  <a:cubicBezTo>
                    <a:pt x="263265" y="222163"/>
                    <a:pt x="262626" y="222163"/>
                    <a:pt x="261348" y="221524"/>
                  </a:cubicBezTo>
                  <a:lnTo>
                    <a:pt x="261348" y="250252"/>
                  </a:lnTo>
                  <a:cubicBezTo>
                    <a:pt x="261348" y="254082"/>
                    <a:pt x="258792" y="256636"/>
                    <a:pt x="254958" y="256636"/>
                  </a:cubicBezTo>
                  <a:lnTo>
                    <a:pt x="72206" y="256636"/>
                  </a:lnTo>
                  <a:cubicBezTo>
                    <a:pt x="68372" y="256636"/>
                    <a:pt x="65816" y="254082"/>
                    <a:pt x="65816" y="250252"/>
                  </a:cubicBezTo>
                  <a:lnTo>
                    <a:pt x="65816" y="146193"/>
                  </a:lnTo>
                  <a:cubicBezTo>
                    <a:pt x="65816" y="142363"/>
                    <a:pt x="68372" y="139809"/>
                    <a:pt x="72206" y="139809"/>
                  </a:cubicBezTo>
                  <a:lnTo>
                    <a:pt x="100322" y="139809"/>
                  </a:lnTo>
                  <a:lnTo>
                    <a:pt x="100322" y="111720"/>
                  </a:lnTo>
                  <a:cubicBezTo>
                    <a:pt x="100322" y="107889"/>
                    <a:pt x="102878" y="105336"/>
                    <a:pt x="106712" y="105336"/>
                  </a:cubicBezTo>
                  <a:lnTo>
                    <a:pt x="289464" y="105336"/>
                  </a:lnTo>
                  <a:cubicBezTo>
                    <a:pt x="293298" y="105336"/>
                    <a:pt x="295854" y="107889"/>
                    <a:pt x="295854" y="111720"/>
                  </a:cubicBezTo>
                  <a:lnTo>
                    <a:pt x="295854" y="215779"/>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9" name="TextBox 8">
            <a:extLst>
              <a:ext uri="{FF2B5EF4-FFF2-40B4-BE49-F238E27FC236}">
                <a16:creationId xmlns:a16="http://schemas.microsoft.com/office/drawing/2014/main" id="{26A6D70B-E886-08B2-B125-8BA6B69A0781}"/>
              </a:ext>
            </a:extLst>
          </p:cNvPr>
          <p:cNvSpPr txBox="1"/>
          <p:nvPr/>
        </p:nvSpPr>
        <p:spPr>
          <a:xfrm>
            <a:off x="1275876" y="2080720"/>
            <a:ext cx="4360618" cy="474489"/>
          </a:xfrm>
          <a:prstGeom prst="rect">
            <a:avLst/>
          </a:prstGeom>
          <a:noFill/>
        </p:spPr>
        <p:txBody>
          <a:bodyPr wrap="square">
            <a:sp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                               </a:t>
            </a:r>
            <a:r>
              <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PPA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διακανονισμός</a:t>
            </a:r>
          </a:p>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Διακανονισμός διαφοράς τιμής συμβολαίου με τιμή αγοράς</a:t>
            </a:r>
            <a:endPar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pic>
        <p:nvPicPr>
          <p:cNvPr id="10" name="Picture 9" descr="A diagram of a wind turbine&#10;&#10;Description automatically generated">
            <a:extLst>
              <a:ext uri="{FF2B5EF4-FFF2-40B4-BE49-F238E27FC236}">
                <a16:creationId xmlns:a16="http://schemas.microsoft.com/office/drawing/2014/main" id="{19FC7F11-128C-8F72-028A-202E9BFEAA60}"/>
              </a:ext>
            </a:extLst>
          </p:cNvPr>
          <p:cNvPicPr>
            <a:picLocks noChangeAspect="1"/>
          </p:cNvPicPr>
          <p:nvPr/>
        </p:nvPicPr>
        <p:blipFill rotWithShape="1">
          <a:blip r:embed="rId6">
            <a:extLst>
              <a:ext uri="{28A0092B-C50C-407E-A947-70E740481C1C}">
                <a14:useLocalDpi xmlns:a14="http://schemas.microsoft.com/office/drawing/2010/main" val="0"/>
              </a:ext>
            </a:extLst>
          </a:blip>
          <a:srcRect l="19959" t="19500" r="18367" b="15682"/>
          <a:stretch/>
        </p:blipFill>
        <p:spPr>
          <a:xfrm>
            <a:off x="391064" y="2637500"/>
            <a:ext cx="1649201" cy="1827728"/>
          </a:xfrm>
          <a:prstGeom prst="rect">
            <a:avLst/>
          </a:prstGeom>
        </p:spPr>
      </p:pic>
      <p:pic>
        <p:nvPicPr>
          <p:cNvPr id="11" name="Picture 10" descr="A green and grey building with smoke coming out of it&#10;&#10;Description automatically generated">
            <a:extLst>
              <a:ext uri="{FF2B5EF4-FFF2-40B4-BE49-F238E27FC236}">
                <a16:creationId xmlns:a16="http://schemas.microsoft.com/office/drawing/2014/main" id="{A1096837-AF09-3809-6844-6F176A568B8E}"/>
              </a:ext>
            </a:extLst>
          </p:cNvPr>
          <p:cNvPicPr>
            <a:picLocks noChangeAspect="1"/>
          </p:cNvPicPr>
          <p:nvPr/>
        </p:nvPicPr>
        <p:blipFill rotWithShape="1">
          <a:blip r:embed="rId7">
            <a:extLst>
              <a:ext uri="{28A0092B-C50C-407E-A947-70E740481C1C}">
                <a14:useLocalDpi xmlns:a14="http://schemas.microsoft.com/office/drawing/2010/main" val="0"/>
              </a:ext>
            </a:extLst>
          </a:blip>
          <a:srcRect b="14699"/>
          <a:stretch/>
        </p:blipFill>
        <p:spPr>
          <a:xfrm>
            <a:off x="4341791" y="2619152"/>
            <a:ext cx="1733135" cy="1827728"/>
          </a:xfrm>
          <a:prstGeom prst="rect">
            <a:avLst/>
          </a:prstGeom>
        </p:spPr>
      </p:pic>
      <p:sp>
        <p:nvSpPr>
          <p:cNvPr id="12" name="Textbox 38">
            <a:extLst>
              <a:ext uri="{FF2B5EF4-FFF2-40B4-BE49-F238E27FC236}">
                <a16:creationId xmlns:a16="http://schemas.microsoft.com/office/drawing/2014/main" id="{990D996F-0AED-C83B-405B-8137082D9E99}"/>
              </a:ext>
            </a:extLst>
          </p:cNvPr>
          <p:cNvSpPr txBox="1"/>
          <p:nvPr/>
        </p:nvSpPr>
        <p:spPr>
          <a:xfrm>
            <a:off x="1971400" y="239782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13" name="Textbox 38">
            <a:extLst>
              <a:ext uri="{FF2B5EF4-FFF2-40B4-BE49-F238E27FC236}">
                <a16:creationId xmlns:a16="http://schemas.microsoft.com/office/drawing/2014/main" id="{AAB797D2-8714-4400-3B38-7361650AB62C}"/>
              </a:ext>
            </a:extLst>
          </p:cNvPr>
          <p:cNvSpPr txBox="1"/>
          <p:nvPr/>
        </p:nvSpPr>
        <p:spPr>
          <a:xfrm>
            <a:off x="1971399" y="2342605"/>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endPar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mn-cs"/>
            </a:endParaRPr>
          </a:p>
        </p:txBody>
      </p:sp>
      <p:sp>
        <p:nvSpPr>
          <p:cNvPr id="14" name="Textbox 38">
            <a:extLst>
              <a:ext uri="{FF2B5EF4-FFF2-40B4-BE49-F238E27FC236}">
                <a16:creationId xmlns:a16="http://schemas.microsoft.com/office/drawing/2014/main" id="{7B49C0F2-7AAA-47C2-0115-41CFCDE85EF8}"/>
              </a:ext>
            </a:extLst>
          </p:cNvPr>
          <p:cNvSpPr txBox="1"/>
          <p:nvPr/>
        </p:nvSpPr>
        <p:spPr>
          <a:xfrm>
            <a:off x="547395" y="4394714"/>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Πωλητής</a:t>
            </a:r>
            <a:endPar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15" name="Textbox 38">
            <a:extLst>
              <a:ext uri="{FF2B5EF4-FFF2-40B4-BE49-F238E27FC236}">
                <a16:creationId xmlns:a16="http://schemas.microsoft.com/office/drawing/2014/main" id="{D390601A-1764-467D-8E50-7E12DFBD4509}"/>
              </a:ext>
            </a:extLst>
          </p:cNvPr>
          <p:cNvSpPr txBox="1"/>
          <p:nvPr/>
        </p:nvSpPr>
        <p:spPr>
          <a:xfrm>
            <a:off x="3456185" y="4431013"/>
            <a:ext cx="2908790" cy="33837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850" b="0" i="0" u="none" strike="noStrike" kern="1200" cap="none" spc="0" normalizeH="0" baseline="0" noProof="0" dirty="0">
                <a:ln>
                  <a:noFill/>
                </a:ln>
                <a:solidFill>
                  <a:srgbClr val="6A6D71"/>
                </a:solidFill>
                <a:effectLst/>
                <a:uLnTx/>
                <a:uFillTx/>
                <a:latin typeface="Tahoma" panose="020B0604030504040204" pitchFamily="34" charset="0"/>
                <a:ea typeface="Tahoma" panose="020B0604030504040204" pitchFamily="34" charset="0"/>
                <a:cs typeface="+mn-cs"/>
              </a:rPr>
              <a:t>                          </a:t>
            </a:r>
            <a:r>
              <a:rPr kumimoji="0" lang="el-GR"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Αγοραστής</a:t>
            </a:r>
            <a:endParaRPr kumimoji="0" lang="en-US" sz="1200" b="1"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16" name="Textbox 38">
            <a:extLst>
              <a:ext uri="{FF2B5EF4-FFF2-40B4-BE49-F238E27FC236}">
                <a16:creationId xmlns:a16="http://schemas.microsoft.com/office/drawing/2014/main" id="{C2FF7E48-7611-65FE-5127-DEA7406354B3}"/>
              </a:ext>
            </a:extLst>
          </p:cNvPr>
          <p:cNvSpPr txBox="1"/>
          <p:nvPr/>
        </p:nvSpPr>
        <p:spPr>
          <a:xfrm>
            <a:off x="2104877" y="3475194"/>
            <a:ext cx="2214270" cy="41660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50 €/</a:t>
            </a: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W</a:t>
            </a:r>
            <a:r>
              <a:rPr kumimoji="0" lang="el-GR"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l-GR"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δ</a:t>
            </a:r>
            <a:r>
              <a:rPr kumimoji="0" lang="el-GR"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rPr>
              <a:t>ιαφορά τιμής συμβολαίου με τιμή αγοράς</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17" name="Straight Arrow Connector 16">
            <a:extLst>
              <a:ext uri="{FF2B5EF4-FFF2-40B4-BE49-F238E27FC236}">
                <a16:creationId xmlns:a16="http://schemas.microsoft.com/office/drawing/2014/main" id="{1D3B925A-63E5-1F85-E67A-4F903D826F00}"/>
              </a:ext>
            </a:extLst>
          </p:cNvPr>
          <p:cNvCxnSpPr>
            <a:cxnSpLocks/>
          </p:cNvCxnSpPr>
          <p:nvPr/>
        </p:nvCxnSpPr>
        <p:spPr>
          <a:xfrm flipH="1">
            <a:off x="1760180" y="3335460"/>
            <a:ext cx="2486700" cy="0"/>
          </a:xfrm>
          <a:prstGeom prst="straightConnector1">
            <a:avLst/>
          </a:prstGeom>
          <a:ln>
            <a:prstDash val="dash"/>
            <a:tailEnd type="triangle"/>
          </a:ln>
        </p:spPr>
        <p:style>
          <a:lnRef idx="2">
            <a:schemeClr val="accent4"/>
          </a:lnRef>
          <a:fillRef idx="0">
            <a:schemeClr val="accent4"/>
          </a:fillRef>
          <a:effectRef idx="1">
            <a:schemeClr val="accent4"/>
          </a:effectRef>
          <a:fontRef idx="minor">
            <a:schemeClr val="tx1"/>
          </a:fontRef>
        </p:style>
      </p:cxnSp>
      <p:sp>
        <p:nvSpPr>
          <p:cNvPr id="18" name="Textbox 38">
            <a:extLst>
              <a:ext uri="{FF2B5EF4-FFF2-40B4-BE49-F238E27FC236}">
                <a16:creationId xmlns:a16="http://schemas.microsoft.com/office/drawing/2014/main" id="{2B11E492-D0F9-9173-11F3-5377BABFD455}"/>
              </a:ext>
            </a:extLst>
          </p:cNvPr>
          <p:cNvSpPr txBox="1"/>
          <p:nvPr/>
        </p:nvSpPr>
        <p:spPr>
          <a:xfrm>
            <a:off x="2241901" y="2843792"/>
            <a:ext cx="3820280" cy="313231"/>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55"/>
              </a:spcBef>
              <a:spcAft>
                <a:spcPts val="0"/>
              </a:spcAft>
              <a:buClrTx/>
              <a:buSzTx/>
              <a:buFontTx/>
              <a:buNone/>
              <a:tabLst/>
              <a:defRPr/>
            </a:pPr>
            <a:r>
              <a:rPr kumimoji="0" lang="el-GR"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00 €/</a:t>
            </a: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W</a:t>
            </a:r>
            <a:r>
              <a:rPr kumimoji="0" lang="el-GR"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τιμή αγοράς</a:t>
            </a:r>
            <a:endParaRPr kumimoji="0" lang="en-US" sz="1200" b="0" i="0" u="none" strike="noStrike" kern="1200" cap="none" spc="0" normalizeH="0" baseline="0" noProof="0" dirty="0">
              <a:ln>
                <a:noFill/>
              </a:ln>
              <a:solidFill>
                <a:srgbClr val="6A6D71"/>
              </a:solidFill>
              <a:effectLst/>
              <a:uLnTx/>
              <a:uFillTx/>
              <a:latin typeface="Calibri" panose="020F0502020204030204" pitchFamily="34" charset="0"/>
              <a:ea typeface="Tahoma" panose="020B0604030504040204" pitchFamily="34" charset="0"/>
              <a:cs typeface="Calibri" panose="020F0502020204030204" pitchFamily="34" charset="0"/>
            </a:endParaRPr>
          </a:p>
        </p:txBody>
      </p:sp>
      <p:cxnSp>
        <p:nvCxnSpPr>
          <p:cNvPr id="19" name="Straight Arrow Connector 18">
            <a:extLst>
              <a:ext uri="{FF2B5EF4-FFF2-40B4-BE49-F238E27FC236}">
                <a16:creationId xmlns:a16="http://schemas.microsoft.com/office/drawing/2014/main" id="{10FDD802-FE17-1E8C-C862-2B24BD7144A2}"/>
              </a:ext>
            </a:extLst>
          </p:cNvPr>
          <p:cNvCxnSpPr>
            <a:cxnSpLocks/>
          </p:cNvCxnSpPr>
          <p:nvPr/>
        </p:nvCxnSpPr>
        <p:spPr>
          <a:xfrm flipH="1">
            <a:off x="1716423" y="3152580"/>
            <a:ext cx="2602724" cy="0"/>
          </a:xfrm>
          <a:prstGeom prst="straightConnector1">
            <a:avLst/>
          </a:prstGeom>
          <a:ln>
            <a:solidFill>
              <a:schemeClr val="accent3"/>
            </a:solidFill>
            <a:prstDash val="dash"/>
            <a:tailEnd type="triangle"/>
          </a:ln>
        </p:spPr>
        <p:style>
          <a:lnRef idx="2">
            <a:schemeClr val="accent4"/>
          </a:lnRef>
          <a:fillRef idx="0">
            <a:schemeClr val="accent4"/>
          </a:fillRef>
          <a:effectRef idx="1">
            <a:schemeClr val="accent4"/>
          </a:effectRef>
          <a:fontRef idx="minor">
            <a:schemeClr val="tx1"/>
          </a:fontRef>
        </p:style>
      </p:cxnSp>
    </p:spTree>
    <p:custDataLst>
      <p:custData r:id="rId1"/>
      <p:custData r:id="rId2"/>
      <p:tags r:id="rId3"/>
    </p:custDataLst>
    <p:extLst>
      <p:ext uri="{BB962C8B-B14F-4D97-AF65-F5344CB8AC3E}">
        <p14:creationId xmlns:p14="http://schemas.microsoft.com/office/powerpoint/2010/main" val="24147999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C57D9DC6-32D0-01A7-8101-5478AC77BA99}"/>
              </a:ext>
            </a:extLst>
          </p:cNvPr>
          <p:cNvSpPr>
            <a:spLocks noGrp="1"/>
          </p:cNvSpPr>
          <p:nvPr>
            <p:ph type="body" sz="quarter" idx="13"/>
          </p:nvPr>
        </p:nvSpPr>
        <p:spPr>
          <a:xfrm>
            <a:off x="469903" y="736701"/>
            <a:ext cx="11252200" cy="757255"/>
          </a:xfrm>
        </p:spPr>
        <p:txBody>
          <a:bodyPr/>
          <a:lstStyle/>
          <a:p>
            <a:pPr defTabSz="1219170"/>
            <a:r>
              <a:rPr lang="el-GR" dirty="0">
                <a:latin typeface="Calibri" panose="020F0502020204030204" pitchFamily="34" charset="0"/>
                <a:cs typeface="Calibri" panose="020F0502020204030204" pitchFamily="34" charset="0"/>
              </a:rPr>
              <a:t>Φορολογικά και λοιπά σχετικά ζητήματα</a:t>
            </a:r>
            <a:endParaRPr lang="en-US" sz="1800" dirty="0">
              <a:latin typeface="Calibri" panose="020F0502020204030204" pitchFamily="34" charset="0"/>
              <a:cs typeface="Calibri" panose="020F0502020204030204" pitchFamily="34" charset="0"/>
            </a:endParaRPr>
          </a:p>
        </p:txBody>
      </p:sp>
      <p:sp>
        <p:nvSpPr>
          <p:cNvPr id="4" name="Title 4">
            <a:extLst>
              <a:ext uri="{FF2B5EF4-FFF2-40B4-BE49-F238E27FC236}">
                <a16:creationId xmlns:a16="http://schemas.microsoft.com/office/drawing/2014/main" id="{5814CE51-A068-6B94-0A34-4E40A8D4473E}"/>
              </a:ext>
            </a:extLst>
          </p:cNvPr>
          <p:cNvSpPr>
            <a:spLocks noGrp="1"/>
          </p:cNvSpPr>
          <p:nvPr>
            <p:ph type="title"/>
          </p:nvPr>
        </p:nvSpPr>
        <p:spPr>
          <a:xfrm>
            <a:off x="469903" y="402598"/>
            <a:ext cx="11252200" cy="698501"/>
          </a:xfrm>
        </p:spPr>
        <p:txBody>
          <a:bodyPr/>
          <a:lstStyle/>
          <a:p>
            <a:pPr defTabSz="914400"/>
            <a:r>
              <a:rPr lang="el-GR" sz="2000" dirty="0">
                <a:latin typeface="Calibri" panose="020F0502020204030204" pitchFamily="34" charset="0"/>
                <a:cs typeface="Calibri" panose="020F0502020204030204" pitchFamily="34" charset="0"/>
              </a:rPr>
              <a:t>Διμερής συμφωνίες πώλησης ενέργειας (</a:t>
            </a:r>
            <a:r>
              <a:rPr lang="en-US" sz="2000" dirty="0">
                <a:latin typeface="Calibri" panose="020F0502020204030204" pitchFamily="34" charset="0"/>
                <a:cs typeface="Calibri" panose="020F0502020204030204" pitchFamily="34" charset="0"/>
              </a:rPr>
              <a:t>PPA’s)</a:t>
            </a:r>
          </a:p>
        </p:txBody>
      </p:sp>
      <p:sp>
        <p:nvSpPr>
          <p:cNvPr id="11" name="Rectangle 10">
            <a:extLst>
              <a:ext uri="{FF2B5EF4-FFF2-40B4-BE49-F238E27FC236}">
                <a16:creationId xmlns:a16="http://schemas.microsoft.com/office/drawing/2014/main" id="{0B744EFA-3E0C-6E2F-47CA-44312E842476}"/>
              </a:ext>
            </a:extLst>
          </p:cNvPr>
          <p:cNvSpPr/>
          <p:nvPr/>
        </p:nvSpPr>
        <p:spPr>
          <a:xfrm>
            <a:off x="4077160" y="5247113"/>
            <a:ext cx="1828800" cy="430887"/>
          </a:xfrm>
          <a:prstGeom prst="rect">
            <a:avLst/>
          </a:prstGeom>
        </p:spPr>
        <p:txBody>
          <a:bodyPr wrap="square" lIns="0" tIns="0" rIns="0" bIns="0">
            <a:spAutoFit/>
          </a:bodyPr>
          <a:lstStyle/>
          <a:p>
            <a:r>
              <a:rPr lang="el-GR" sz="1400" b="1" dirty="0">
                <a:solidFill>
                  <a:schemeClr val="accent2"/>
                </a:solidFill>
              </a:rPr>
              <a:t>Άλλες δηλωτικές υποχρεώσεις</a:t>
            </a:r>
            <a:endParaRPr lang="en-US" sz="1100" dirty="0">
              <a:solidFill>
                <a:schemeClr val="accent2"/>
              </a:solidFill>
            </a:endParaRPr>
          </a:p>
        </p:txBody>
      </p:sp>
      <p:sp>
        <p:nvSpPr>
          <p:cNvPr id="25" name="Rectangle 24">
            <a:extLst>
              <a:ext uri="{FF2B5EF4-FFF2-40B4-BE49-F238E27FC236}">
                <a16:creationId xmlns:a16="http://schemas.microsoft.com/office/drawing/2014/main" id="{A0F7FD9F-C293-02E9-0F5C-D2E490C10F63}"/>
              </a:ext>
            </a:extLst>
          </p:cNvPr>
          <p:cNvSpPr/>
          <p:nvPr/>
        </p:nvSpPr>
        <p:spPr>
          <a:xfrm>
            <a:off x="4058612" y="5711564"/>
            <a:ext cx="1883981" cy="646331"/>
          </a:xfrm>
          <a:prstGeom prst="rect">
            <a:avLst/>
          </a:prstGeom>
        </p:spPr>
        <p:txBody>
          <a:bodyPr wrap="square" lIns="0" tIns="0" rIns="0" bIns="0">
            <a:spAutoFit/>
          </a:bodyPr>
          <a:lstStyle/>
          <a:p>
            <a:r>
              <a:rPr lang="el-GR" sz="1400" dirty="0"/>
              <a:t>Τριμηνιαίες καταστάσεις συμφωνητικών</a:t>
            </a:r>
          </a:p>
          <a:p>
            <a:r>
              <a:rPr lang="en-US" sz="1400" dirty="0"/>
              <a:t>My data?</a:t>
            </a:r>
          </a:p>
        </p:txBody>
      </p:sp>
      <p:sp>
        <p:nvSpPr>
          <p:cNvPr id="26" name="Freeform 43">
            <a:extLst>
              <a:ext uri="{FF2B5EF4-FFF2-40B4-BE49-F238E27FC236}">
                <a16:creationId xmlns:a16="http://schemas.microsoft.com/office/drawing/2014/main" id="{54DEFADC-D883-6190-4118-239C6C69F8B0}"/>
              </a:ext>
            </a:extLst>
          </p:cNvPr>
          <p:cNvSpPr/>
          <p:nvPr/>
        </p:nvSpPr>
        <p:spPr bwMode="gray">
          <a:xfrm>
            <a:off x="4042810" y="4970035"/>
            <a:ext cx="2151162"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27" name="Freeform 42">
            <a:extLst>
              <a:ext uri="{FF2B5EF4-FFF2-40B4-BE49-F238E27FC236}">
                <a16:creationId xmlns:a16="http://schemas.microsoft.com/office/drawing/2014/main" id="{44CCD87B-F45C-8CB3-B255-49A9CCE507C8}"/>
              </a:ext>
            </a:extLst>
          </p:cNvPr>
          <p:cNvSpPr/>
          <p:nvPr/>
        </p:nvSpPr>
        <p:spPr bwMode="gray">
          <a:xfrm flipH="1">
            <a:off x="7274024" y="4360076"/>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28" name="Freeform 43">
            <a:extLst>
              <a:ext uri="{FF2B5EF4-FFF2-40B4-BE49-F238E27FC236}">
                <a16:creationId xmlns:a16="http://schemas.microsoft.com/office/drawing/2014/main" id="{FB4425B8-628E-7739-959F-71B15CEE9546}"/>
              </a:ext>
            </a:extLst>
          </p:cNvPr>
          <p:cNvSpPr/>
          <p:nvPr/>
        </p:nvSpPr>
        <p:spPr bwMode="gray">
          <a:xfrm>
            <a:off x="2231838" y="4240332"/>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p>
        </p:txBody>
      </p:sp>
      <p:sp>
        <p:nvSpPr>
          <p:cNvPr id="29" name="Freeform 51">
            <a:extLst>
              <a:ext uri="{FF2B5EF4-FFF2-40B4-BE49-F238E27FC236}">
                <a16:creationId xmlns:a16="http://schemas.microsoft.com/office/drawing/2014/main" id="{FEE7B65E-6A60-155A-4995-9E84395995B5}"/>
              </a:ext>
            </a:extLst>
          </p:cNvPr>
          <p:cNvSpPr/>
          <p:nvPr/>
        </p:nvSpPr>
        <p:spPr bwMode="gray">
          <a:xfrm flipV="1">
            <a:off x="2231838" y="2038697"/>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30" name="Freeform 54">
            <a:extLst>
              <a:ext uri="{FF2B5EF4-FFF2-40B4-BE49-F238E27FC236}">
                <a16:creationId xmlns:a16="http://schemas.microsoft.com/office/drawing/2014/main" id="{7D62F82B-5150-8CA7-F57D-A6FBD2B85C5F}"/>
              </a:ext>
            </a:extLst>
          </p:cNvPr>
          <p:cNvSpPr/>
          <p:nvPr/>
        </p:nvSpPr>
        <p:spPr bwMode="gray">
          <a:xfrm flipH="1" flipV="1">
            <a:off x="7274024" y="2427473"/>
            <a:ext cx="2692400" cy="342743"/>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BBBCBC"/>
            </a:solidFill>
            <a:miter lim="800000"/>
            <a:headEnd/>
            <a:tailEnd/>
          </a:ln>
        </p:spPr>
        <p:txBody>
          <a:bodyPr rtlCol="0" anchor="ctr"/>
          <a:lstStyle/>
          <a:p>
            <a:pPr algn="ctr"/>
            <a:endParaRPr lang="en-US">
              <a:solidFill>
                <a:schemeClr val="accent6"/>
              </a:solidFill>
            </a:endParaRPr>
          </a:p>
        </p:txBody>
      </p:sp>
      <p:sp>
        <p:nvSpPr>
          <p:cNvPr id="31" name="Freeform 57">
            <a:extLst>
              <a:ext uri="{FF2B5EF4-FFF2-40B4-BE49-F238E27FC236}">
                <a16:creationId xmlns:a16="http://schemas.microsoft.com/office/drawing/2014/main" id="{85A0656A-204A-0227-26D4-29880AD5B20E}"/>
              </a:ext>
            </a:extLst>
          </p:cNvPr>
          <p:cNvSpPr/>
          <p:nvPr/>
        </p:nvSpPr>
        <p:spPr bwMode="gray">
          <a:xfrm flipV="1">
            <a:off x="6067488" y="1385951"/>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rgbClr val="BBBCBC"/>
            </a:solidFill>
            <a:miter lim="800000"/>
            <a:headEnd/>
            <a:tailEnd/>
          </a:ln>
        </p:spPr>
        <p:txBody>
          <a:bodyPr rtlCol="0" anchor="ctr"/>
          <a:lstStyle/>
          <a:p>
            <a:pPr algn="ctr"/>
            <a:endParaRPr lang="en-US" sz="3200">
              <a:solidFill>
                <a:schemeClr val="accent6"/>
              </a:solidFill>
            </a:endParaRPr>
          </a:p>
        </p:txBody>
      </p:sp>
      <p:sp>
        <p:nvSpPr>
          <p:cNvPr id="32" name="Hexagon 31">
            <a:extLst>
              <a:ext uri="{FF2B5EF4-FFF2-40B4-BE49-F238E27FC236}">
                <a16:creationId xmlns:a16="http://schemas.microsoft.com/office/drawing/2014/main" id="{146288F7-70BD-C374-DF04-48C42AF8AD08}"/>
              </a:ext>
            </a:extLst>
          </p:cNvPr>
          <p:cNvSpPr/>
          <p:nvPr/>
        </p:nvSpPr>
        <p:spPr bwMode="gray">
          <a:xfrm>
            <a:off x="5552249" y="3221479"/>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3" name="Hexagon 32">
            <a:extLst>
              <a:ext uri="{FF2B5EF4-FFF2-40B4-BE49-F238E27FC236}">
                <a16:creationId xmlns:a16="http://schemas.microsoft.com/office/drawing/2014/main" id="{4B2B30E1-F160-547F-A433-9C9C6C2D4979}"/>
              </a:ext>
            </a:extLst>
          </p:cNvPr>
          <p:cNvSpPr/>
          <p:nvPr/>
        </p:nvSpPr>
        <p:spPr bwMode="gray">
          <a:xfrm>
            <a:off x="5552249" y="2237619"/>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endParaRPr>
          </a:p>
        </p:txBody>
      </p:sp>
      <p:sp>
        <p:nvSpPr>
          <p:cNvPr id="34" name="Hexagon 33">
            <a:extLst>
              <a:ext uri="{FF2B5EF4-FFF2-40B4-BE49-F238E27FC236}">
                <a16:creationId xmlns:a16="http://schemas.microsoft.com/office/drawing/2014/main" id="{AAA1BEE1-FA19-1563-ECF6-13A531D2F6F3}"/>
              </a:ext>
            </a:extLst>
          </p:cNvPr>
          <p:cNvSpPr/>
          <p:nvPr/>
        </p:nvSpPr>
        <p:spPr bwMode="gray">
          <a:xfrm>
            <a:off x="5552249" y="4205340"/>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5" name="Hexagon 34">
            <a:extLst>
              <a:ext uri="{FF2B5EF4-FFF2-40B4-BE49-F238E27FC236}">
                <a16:creationId xmlns:a16="http://schemas.microsoft.com/office/drawing/2014/main" id="{516FC966-77F1-93A0-18F1-71DF47C76442}"/>
              </a:ext>
            </a:extLst>
          </p:cNvPr>
          <p:cNvSpPr/>
          <p:nvPr/>
        </p:nvSpPr>
        <p:spPr bwMode="gray">
          <a:xfrm>
            <a:off x="6453692" y="3710834"/>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6" name="Hexagon 35">
            <a:extLst>
              <a:ext uri="{FF2B5EF4-FFF2-40B4-BE49-F238E27FC236}">
                <a16:creationId xmlns:a16="http://schemas.microsoft.com/office/drawing/2014/main" id="{85F342EF-FD19-1F66-63B6-B719F177387C}"/>
              </a:ext>
            </a:extLst>
          </p:cNvPr>
          <p:cNvSpPr/>
          <p:nvPr/>
        </p:nvSpPr>
        <p:spPr bwMode="gray">
          <a:xfrm>
            <a:off x="6453692" y="2732125"/>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a:extLst>
              <a:ext uri="{FF2B5EF4-FFF2-40B4-BE49-F238E27FC236}">
                <a16:creationId xmlns:a16="http://schemas.microsoft.com/office/drawing/2014/main" id="{BD4C08AF-9572-EC38-688C-7352CF1596EB}"/>
              </a:ext>
            </a:extLst>
          </p:cNvPr>
          <p:cNvSpPr/>
          <p:nvPr/>
        </p:nvSpPr>
        <p:spPr bwMode="gray">
          <a:xfrm>
            <a:off x="4650806" y="3710834"/>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a:extLst>
              <a:ext uri="{FF2B5EF4-FFF2-40B4-BE49-F238E27FC236}">
                <a16:creationId xmlns:a16="http://schemas.microsoft.com/office/drawing/2014/main" id="{A4D9D3A4-0FF7-0DAF-4341-AD45F066A696}"/>
              </a:ext>
            </a:extLst>
          </p:cNvPr>
          <p:cNvSpPr/>
          <p:nvPr/>
        </p:nvSpPr>
        <p:spPr bwMode="gray">
          <a:xfrm>
            <a:off x="4650806" y="2732125"/>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Rectangle 38">
            <a:extLst>
              <a:ext uri="{FF2B5EF4-FFF2-40B4-BE49-F238E27FC236}">
                <a16:creationId xmlns:a16="http://schemas.microsoft.com/office/drawing/2014/main" id="{F7BA4A4C-738D-8184-E989-81F53EC1E462}"/>
              </a:ext>
            </a:extLst>
          </p:cNvPr>
          <p:cNvSpPr/>
          <p:nvPr/>
        </p:nvSpPr>
        <p:spPr>
          <a:xfrm>
            <a:off x="7943834" y="4619682"/>
            <a:ext cx="2011680" cy="430887"/>
          </a:xfrm>
          <a:prstGeom prst="rect">
            <a:avLst/>
          </a:prstGeom>
        </p:spPr>
        <p:txBody>
          <a:bodyPr wrap="square" lIns="0" tIns="0" rIns="0" bIns="0">
            <a:spAutoFit/>
          </a:bodyPr>
          <a:lstStyle/>
          <a:p>
            <a:r>
              <a:rPr lang="el-GR" sz="1400" b="1" dirty="0">
                <a:solidFill>
                  <a:schemeClr val="accent3"/>
                </a:solidFill>
              </a:rPr>
              <a:t>Έκπτωση δαπάνης – Φορολογία Εισοδήματος</a:t>
            </a:r>
            <a:endParaRPr lang="en-US" sz="1100" dirty="0">
              <a:solidFill>
                <a:schemeClr val="accent3"/>
              </a:solidFill>
            </a:endParaRPr>
          </a:p>
        </p:txBody>
      </p:sp>
      <p:sp>
        <p:nvSpPr>
          <p:cNvPr id="40" name="Rectangle 39">
            <a:extLst>
              <a:ext uri="{FF2B5EF4-FFF2-40B4-BE49-F238E27FC236}">
                <a16:creationId xmlns:a16="http://schemas.microsoft.com/office/drawing/2014/main" id="{B8FE1CF0-67AA-1A6F-2430-3816E4FB1995}"/>
              </a:ext>
            </a:extLst>
          </p:cNvPr>
          <p:cNvSpPr/>
          <p:nvPr/>
        </p:nvSpPr>
        <p:spPr>
          <a:xfrm>
            <a:off x="7943834" y="5148909"/>
            <a:ext cx="2011680" cy="1077218"/>
          </a:xfrm>
          <a:prstGeom prst="rect">
            <a:avLst/>
          </a:prstGeom>
        </p:spPr>
        <p:txBody>
          <a:bodyPr wrap="square" lIns="0" tIns="0" rIns="0" bIns="0">
            <a:spAutoFit/>
          </a:bodyPr>
          <a:lstStyle/>
          <a:p>
            <a:r>
              <a:rPr lang="el-GR" sz="1400" dirty="0"/>
              <a:t>22% ΦΕΝΠ</a:t>
            </a:r>
          </a:p>
          <a:p>
            <a:r>
              <a:rPr lang="el-GR" sz="1400" dirty="0"/>
              <a:t>Έκπτωση της δαπάνης – γενικές προϋποθέσεις</a:t>
            </a:r>
          </a:p>
          <a:p>
            <a:r>
              <a:rPr lang="el-GR" sz="1400" dirty="0"/>
              <a:t>Δεν φαίνεται να τίθεται θέμα παρακράτησης ΦΕ</a:t>
            </a:r>
            <a:endParaRPr lang="en-US" sz="1400" dirty="0"/>
          </a:p>
        </p:txBody>
      </p:sp>
      <p:sp>
        <p:nvSpPr>
          <p:cNvPr id="41" name="Rectangle 40">
            <a:extLst>
              <a:ext uri="{FF2B5EF4-FFF2-40B4-BE49-F238E27FC236}">
                <a16:creationId xmlns:a16="http://schemas.microsoft.com/office/drawing/2014/main" id="{B35DB066-0F61-90BF-E5DB-41E91833D692}"/>
              </a:ext>
            </a:extLst>
          </p:cNvPr>
          <p:cNvSpPr/>
          <p:nvPr/>
        </p:nvSpPr>
        <p:spPr>
          <a:xfrm>
            <a:off x="2231838" y="4480367"/>
            <a:ext cx="2011680" cy="430887"/>
          </a:xfrm>
          <a:prstGeom prst="rect">
            <a:avLst/>
          </a:prstGeom>
        </p:spPr>
        <p:txBody>
          <a:bodyPr wrap="square" lIns="0" tIns="0" rIns="0" bIns="0">
            <a:spAutoFit/>
          </a:bodyPr>
          <a:lstStyle/>
          <a:p>
            <a:r>
              <a:rPr lang="el-GR" sz="1400" b="1" dirty="0">
                <a:solidFill>
                  <a:schemeClr val="accent1"/>
                </a:solidFill>
              </a:rPr>
              <a:t>Φορολογία Εισοδήματος – </a:t>
            </a:r>
            <a:r>
              <a:rPr lang="en-US" sz="1400" b="1" dirty="0">
                <a:solidFill>
                  <a:schemeClr val="accent1"/>
                </a:solidFill>
              </a:rPr>
              <a:t>Transfer Pricing</a:t>
            </a:r>
            <a:endParaRPr lang="en-US" sz="1100" dirty="0">
              <a:solidFill>
                <a:schemeClr val="accent1"/>
              </a:solidFill>
            </a:endParaRPr>
          </a:p>
        </p:txBody>
      </p:sp>
      <p:sp>
        <p:nvSpPr>
          <p:cNvPr id="42" name="Rectangle 41">
            <a:extLst>
              <a:ext uri="{FF2B5EF4-FFF2-40B4-BE49-F238E27FC236}">
                <a16:creationId xmlns:a16="http://schemas.microsoft.com/office/drawing/2014/main" id="{26AC1331-3A83-0784-3DC6-FF615D3B16A0}"/>
              </a:ext>
            </a:extLst>
          </p:cNvPr>
          <p:cNvSpPr/>
          <p:nvPr/>
        </p:nvSpPr>
        <p:spPr>
          <a:xfrm>
            <a:off x="2231838" y="4972889"/>
            <a:ext cx="2011680" cy="430887"/>
          </a:xfrm>
          <a:prstGeom prst="rect">
            <a:avLst/>
          </a:prstGeom>
        </p:spPr>
        <p:txBody>
          <a:bodyPr wrap="square" lIns="0" tIns="0" rIns="0" bIns="0">
            <a:spAutoFit/>
          </a:bodyPr>
          <a:lstStyle/>
          <a:p>
            <a:r>
              <a:rPr lang="el-GR" sz="1400" dirty="0"/>
              <a:t>Ναι, αν η συναλλαγή είναι μεταξύ συνδεδεμένων</a:t>
            </a:r>
            <a:endParaRPr lang="en-US" sz="1400" dirty="0"/>
          </a:p>
        </p:txBody>
      </p:sp>
      <p:sp>
        <p:nvSpPr>
          <p:cNvPr id="43" name="Rectangle 42">
            <a:extLst>
              <a:ext uri="{FF2B5EF4-FFF2-40B4-BE49-F238E27FC236}">
                <a16:creationId xmlns:a16="http://schemas.microsoft.com/office/drawing/2014/main" id="{55A5D5D4-2703-40A4-715B-D9F87BA3CFEA}"/>
              </a:ext>
            </a:extLst>
          </p:cNvPr>
          <p:cNvSpPr/>
          <p:nvPr/>
        </p:nvSpPr>
        <p:spPr>
          <a:xfrm>
            <a:off x="2231838" y="1813777"/>
            <a:ext cx="2011680" cy="215444"/>
          </a:xfrm>
          <a:prstGeom prst="rect">
            <a:avLst/>
          </a:prstGeom>
        </p:spPr>
        <p:txBody>
          <a:bodyPr wrap="square" lIns="0" tIns="0" rIns="0" bIns="0">
            <a:spAutoFit/>
          </a:bodyPr>
          <a:lstStyle/>
          <a:p>
            <a:r>
              <a:rPr lang="el-GR" sz="1400" b="1" dirty="0">
                <a:solidFill>
                  <a:schemeClr val="accent4"/>
                </a:solidFill>
              </a:rPr>
              <a:t>Λογιστικά</a:t>
            </a:r>
            <a:endParaRPr lang="en-US" sz="1100" dirty="0">
              <a:solidFill>
                <a:schemeClr val="accent4"/>
              </a:solidFill>
            </a:endParaRPr>
          </a:p>
        </p:txBody>
      </p:sp>
      <p:sp>
        <p:nvSpPr>
          <p:cNvPr id="44" name="Rectangle 43">
            <a:extLst>
              <a:ext uri="{FF2B5EF4-FFF2-40B4-BE49-F238E27FC236}">
                <a16:creationId xmlns:a16="http://schemas.microsoft.com/office/drawing/2014/main" id="{075AC517-D8DA-6F9E-AC80-B69E49B40296}"/>
              </a:ext>
            </a:extLst>
          </p:cNvPr>
          <p:cNvSpPr/>
          <p:nvPr/>
        </p:nvSpPr>
        <p:spPr>
          <a:xfrm>
            <a:off x="2231838" y="2027318"/>
            <a:ext cx="2011680" cy="430887"/>
          </a:xfrm>
          <a:prstGeom prst="rect">
            <a:avLst/>
          </a:prstGeom>
        </p:spPr>
        <p:txBody>
          <a:bodyPr wrap="square" lIns="0" tIns="0" rIns="0" bIns="0">
            <a:spAutoFit/>
          </a:bodyPr>
          <a:lstStyle/>
          <a:p>
            <a:r>
              <a:rPr lang="el-GR" sz="1400" dirty="0"/>
              <a:t>Ποιος είναι ο ορθός χειρισμός ΕΛΠ/ΔΠΧΑ?</a:t>
            </a:r>
            <a:endParaRPr lang="en-US" sz="1400" dirty="0"/>
          </a:p>
        </p:txBody>
      </p:sp>
      <p:sp>
        <p:nvSpPr>
          <p:cNvPr id="45" name="Rectangle 44">
            <a:extLst>
              <a:ext uri="{FF2B5EF4-FFF2-40B4-BE49-F238E27FC236}">
                <a16:creationId xmlns:a16="http://schemas.microsoft.com/office/drawing/2014/main" id="{589C60EA-74E9-2855-D71C-BCD5DF8DC76E}"/>
              </a:ext>
            </a:extLst>
          </p:cNvPr>
          <p:cNvSpPr/>
          <p:nvPr/>
        </p:nvSpPr>
        <p:spPr>
          <a:xfrm>
            <a:off x="7943834" y="2212030"/>
            <a:ext cx="2011680" cy="215444"/>
          </a:xfrm>
          <a:prstGeom prst="rect">
            <a:avLst/>
          </a:prstGeom>
        </p:spPr>
        <p:txBody>
          <a:bodyPr wrap="square" lIns="0" tIns="0" rIns="0" bIns="0">
            <a:spAutoFit/>
          </a:bodyPr>
          <a:lstStyle/>
          <a:p>
            <a:r>
              <a:rPr lang="el-GR" sz="1400" b="1" dirty="0">
                <a:solidFill>
                  <a:schemeClr val="accent5"/>
                </a:solidFill>
              </a:rPr>
              <a:t>Μητρώο</a:t>
            </a:r>
            <a:endParaRPr lang="en-US" sz="1100" dirty="0">
              <a:solidFill>
                <a:schemeClr val="accent5"/>
              </a:solidFill>
            </a:endParaRPr>
          </a:p>
        </p:txBody>
      </p:sp>
      <p:sp>
        <p:nvSpPr>
          <p:cNvPr id="46" name="Rectangle 45">
            <a:extLst>
              <a:ext uri="{FF2B5EF4-FFF2-40B4-BE49-F238E27FC236}">
                <a16:creationId xmlns:a16="http://schemas.microsoft.com/office/drawing/2014/main" id="{EC3EC547-44B8-DD89-57B0-1FC4F85B3FB7}"/>
              </a:ext>
            </a:extLst>
          </p:cNvPr>
          <p:cNvSpPr/>
          <p:nvPr/>
        </p:nvSpPr>
        <p:spPr>
          <a:xfrm>
            <a:off x="7943833" y="2425571"/>
            <a:ext cx="2212975" cy="215444"/>
          </a:xfrm>
          <a:prstGeom prst="rect">
            <a:avLst/>
          </a:prstGeom>
        </p:spPr>
        <p:txBody>
          <a:bodyPr wrap="square" lIns="0" tIns="0" rIns="0" bIns="0">
            <a:spAutoFit/>
          </a:bodyPr>
          <a:lstStyle/>
          <a:p>
            <a:r>
              <a:rPr lang="el-GR" sz="1400" dirty="0"/>
              <a:t>Ποιος είναι ο ορθός ΚΑΔ?</a:t>
            </a:r>
            <a:endParaRPr lang="en-US" sz="1400" dirty="0"/>
          </a:p>
        </p:txBody>
      </p:sp>
      <p:sp>
        <p:nvSpPr>
          <p:cNvPr id="47" name="Rectangle 46">
            <a:extLst>
              <a:ext uri="{FF2B5EF4-FFF2-40B4-BE49-F238E27FC236}">
                <a16:creationId xmlns:a16="http://schemas.microsoft.com/office/drawing/2014/main" id="{527BCA6A-CEA7-87B2-2080-9FEAA8AFD519}"/>
              </a:ext>
            </a:extLst>
          </p:cNvPr>
          <p:cNvSpPr/>
          <p:nvPr/>
        </p:nvSpPr>
        <p:spPr>
          <a:xfrm>
            <a:off x="6236513" y="1160842"/>
            <a:ext cx="1828800" cy="215444"/>
          </a:xfrm>
          <a:prstGeom prst="rect">
            <a:avLst/>
          </a:prstGeom>
        </p:spPr>
        <p:txBody>
          <a:bodyPr wrap="square" lIns="0" tIns="0" rIns="0" bIns="0">
            <a:spAutoFit/>
          </a:bodyPr>
          <a:lstStyle/>
          <a:p>
            <a:r>
              <a:rPr lang="el-GR" sz="1400" b="1" dirty="0">
                <a:solidFill>
                  <a:schemeClr val="accent6"/>
                </a:solidFill>
              </a:rPr>
              <a:t>ΦΠΑ</a:t>
            </a:r>
            <a:endParaRPr lang="en-US" sz="1100" dirty="0">
              <a:solidFill>
                <a:schemeClr val="accent6"/>
              </a:solidFill>
            </a:endParaRPr>
          </a:p>
        </p:txBody>
      </p:sp>
      <p:sp>
        <p:nvSpPr>
          <p:cNvPr id="48" name="Rectangle 47">
            <a:extLst>
              <a:ext uri="{FF2B5EF4-FFF2-40B4-BE49-F238E27FC236}">
                <a16:creationId xmlns:a16="http://schemas.microsoft.com/office/drawing/2014/main" id="{628D7B63-5F1C-4E7E-E28C-B5189C6EA030}"/>
              </a:ext>
            </a:extLst>
          </p:cNvPr>
          <p:cNvSpPr/>
          <p:nvPr/>
        </p:nvSpPr>
        <p:spPr>
          <a:xfrm>
            <a:off x="6236512" y="1428813"/>
            <a:ext cx="1842656" cy="430887"/>
          </a:xfrm>
          <a:prstGeom prst="rect">
            <a:avLst/>
          </a:prstGeom>
        </p:spPr>
        <p:txBody>
          <a:bodyPr wrap="square" lIns="0" tIns="0" rIns="0" bIns="0">
            <a:spAutoFit/>
          </a:bodyPr>
          <a:lstStyle/>
          <a:p>
            <a:r>
              <a:rPr lang="el-GR" sz="1400" dirty="0"/>
              <a:t>Συντελεστής 0% ή 13%?</a:t>
            </a:r>
          </a:p>
          <a:p>
            <a:r>
              <a:rPr lang="en-US" sz="1400" dirty="0"/>
              <a:t>Pro-rata?</a:t>
            </a:r>
          </a:p>
        </p:txBody>
      </p:sp>
    </p:spTree>
    <p:custDataLst>
      <p:custData r:id="rId1"/>
      <p:custData r:id="rId2"/>
    </p:custDataLst>
    <p:extLst>
      <p:ext uri="{BB962C8B-B14F-4D97-AF65-F5344CB8AC3E}">
        <p14:creationId xmlns:p14="http://schemas.microsoft.com/office/powerpoint/2010/main" val="27744783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D6F9D1-1DC1-A131-D16D-6B5872C855BF}"/>
              </a:ext>
            </a:extLst>
          </p:cNvPr>
          <p:cNvSpPr txBox="1">
            <a:spLocks/>
          </p:cNvSpPr>
          <p:nvPr/>
        </p:nvSpPr>
        <p:spPr>
          <a:xfrm>
            <a:off x="469903" y="402598"/>
            <a:ext cx="11252200"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l-GR" sz="2000">
                <a:latin typeface="Calibri" panose="020F0502020204030204" pitchFamily="34" charset="0"/>
                <a:cs typeface="Calibri" panose="020F0502020204030204" pitchFamily="34" charset="0"/>
              </a:rPr>
              <a:t>Διμερής συμφωνίες πώλησης ενέργειας (</a:t>
            </a:r>
            <a:r>
              <a:rPr lang="en-US" sz="2000">
                <a:latin typeface="Calibri" panose="020F0502020204030204" pitchFamily="34" charset="0"/>
                <a:cs typeface="Calibri" panose="020F0502020204030204" pitchFamily="34" charset="0"/>
              </a:rPr>
              <a:t>PPA’s)</a:t>
            </a:r>
            <a:endParaRPr lang="en-US" sz="2000" dirty="0">
              <a:latin typeface="Calibri" panose="020F0502020204030204" pitchFamily="34" charset="0"/>
              <a:cs typeface="Calibri" panose="020F0502020204030204" pitchFamily="34" charset="0"/>
            </a:endParaRPr>
          </a:p>
        </p:txBody>
      </p:sp>
      <p:sp>
        <p:nvSpPr>
          <p:cNvPr id="6" name="Text Placeholder 3">
            <a:extLst>
              <a:ext uri="{FF2B5EF4-FFF2-40B4-BE49-F238E27FC236}">
                <a16:creationId xmlns:a16="http://schemas.microsoft.com/office/drawing/2014/main" id="{96259DBA-53C1-BB1A-89A2-DD72600505CF}"/>
              </a:ext>
            </a:extLst>
          </p:cNvPr>
          <p:cNvSpPr txBox="1">
            <a:spLocks/>
          </p:cNvSpPr>
          <p:nvPr/>
        </p:nvSpPr>
        <p:spPr>
          <a:xfrm>
            <a:off x="469903" y="736701"/>
            <a:ext cx="11252200" cy="75725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1219170"/>
            <a:r>
              <a:rPr lang="el-GR" sz="1800" dirty="0">
                <a:latin typeface="Calibri" panose="020F0502020204030204" pitchFamily="34" charset="0"/>
                <a:cs typeface="Calibri" panose="020F0502020204030204" pitchFamily="34" charset="0"/>
              </a:rPr>
              <a:t>Φορολογικά και λοιπά σχετικά ζητήματα</a:t>
            </a:r>
            <a:endParaRPr lang="en-US" sz="1800" dirty="0">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3E3B334F-9C6A-339C-EBFE-3EFF2B626EF6}"/>
              </a:ext>
            </a:extLst>
          </p:cNvPr>
          <p:cNvGrpSpPr/>
          <p:nvPr/>
        </p:nvGrpSpPr>
        <p:grpSpPr>
          <a:xfrm>
            <a:off x="578999" y="1764000"/>
            <a:ext cx="10468563" cy="4442400"/>
            <a:chOff x="579000" y="1764000"/>
            <a:chExt cx="8748600" cy="3712523"/>
          </a:xfrm>
        </p:grpSpPr>
        <p:grpSp>
          <p:nvGrpSpPr>
            <p:cNvPr id="8" name="グループ化 34">
              <a:extLst>
                <a:ext uri="{FF2B5EF4-FFF2-40B4-BE49-F238E27FC236}">
                  <a16:creationId xmlns:a16="http://schemas.microsoft.com/office/drawing/2014/main" id="{38F2385B-1A62-45E7-3EF0-911C936CAB78}"/>
                </a:ext>
              </a:extLst>
            </p:cNvPr>
            <p:cNvGrpSpPr/>
            <p:nvPr/>
          </p:nvGrpSpPr>
          <p:grpSpPr>
            <a:xfrm>
              <a:off x="579600" y="1764000"/>
              <a:ext cx="8748000" cy="1084414"/>
              <a:chOff x="579600" y="1764000"/>
              <a:chExt cx="8748000" cy="1084414"/>
            </a:xfrm>
          </p:grpSpPr>
          <p:sp>
            <p:nvSpPr>
              <p:cNvPr id="15" name="フリーフォーム 17">
                <a:extLst>
                  <a:ext uri="{FF2B5EF4-FFF2-40B4-BE49-F238E27FC236}">
                    <a16:creationId xmlns:a16="http://schemas.microsoft.com/office/drawing/2014/main" id="{5CB4910D-B9A0-592E-43F5-30E5BF019437}"/>
                  </a:ext>
                </a:extLst>
              </p:cNvPr>
              <p:cNvSpPr/>
              <p:nvPr/>
            </p:nvSpPr>
            <p:spPr bwMode="gray">
              <a:xfrm>
                <a:off x="579600" y="1764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1"/>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prstClr val="white"/>
                    </a:solidFill>
                    <a:effectLst/>
                    <a:uLnTx/>
                    <a:uFillTx/>
                    <a:latin typeface="Calibri"/>
                    <a:ea typeface="+mn-ea"/>
                    <a:cs typeface="+mn-cs"/>
                  </a:rPr>
                  <a:t>  1</a:t>
                </a:r>
                <a:r>
                  <a:rPr kumimoji="1" lang="en-US" altLang="ja-JP" sz="1800" b="1" i="0" u="none" strike="noStrike" kern="1200" cap="none" spc="0" normalizeH="0" baseline="0" noProof="0" dirty="0">
                    <a:ln>
                      <a:noFill/>
                    </a:ln>
                    <a:solidFill>
                      <a:srgbClr val="FFFFFF"/>
                    </a:solidFill>
                    <a:effectLst/>
                    <a:uLnTx/>
                    <a:uFillTx/>
                    <a:latin typeface="Calibri"/>
                    <a:ea typeface="+mn-ea"/>
                    <a:cs typeface="+mn-cs"/>
                  </a:rPr>
                  <a:t> </a:t>
                </a:r>
                <a:r>
                  <a:rPr kumimoji="1" lang="el-GR" altLang="ja-JP" sz="1800" b="1" i="0" u="none" strike="noStrike" kern="1200" cap="none" spc="0" normalizeH="0" baseline="0" noProof="0" dirty="0">
                    <a:ln>
                      <a:noFill/>
                    </a:ln>
                    <a:solidFill>
                      <a:srgbClr val="FFFFFF"/>
                    </a:solidFill>
                    <a:effectLst/>
                    <a:uLnTx/>
                    <a:uFillTx/>
                    <a:latin typeface="Calibri"/>
                    <a:ea typeface="+mn-ea"/>
                    <a:cs typeface="+mn-cs"/>
                  </a:rPr>
                  <a:t>Φορολογία Εισοδήματος</a:t>
                </a:r>
                <a:endParaRPr kumimoji="1" lang="ja-JP" altLang="en-US" sz="18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6" name="Group 897">
                <a:extLst>
                  <a:ext uri="{FF2B5EF4-FFF2-40B4-BE49-F238E27FC236}">
                    <a16:creationId xmlns:a16="http://schemas.microsoft.com/office/drawing/2014/main" id="{70247111-067C-9B40-0DBB-9A0982FAC146}"/>
                  </a:ext>
                </a:extLst>
              </p:cNvPr>
              <p:cNvGrpSpPr>
                <a:grpSpLocks noChangeAspect="1"/>
              </p:cNvGrpSpPr>
              <p:nvPr/>
            </p:nvGrpSpPr>
            <p:grpSpPr bwMode="gray">
              <a:xfrm>
                <a:off x="651600" y="1836000"/>
                <a:ext cx="864000" cy="864000"/>
                <a:chOff x="3891" y="3455"/>
                <a:chExt cx="340" cy="340"/>
              </a:xfrm>
              <a:solidFill>
                <a:schemeClr val="bg1"/>
              </a:solidFill>
            </p:grpSpPr>
            <p:sp>
              <p:nvSpPr>
                <p:cNvPr id="18" name="Freeform 898">
                  <a:extLst>
                    <a:ext uri="{FF2B5EF4-FFF2-40B4-BE49-F238E27FC236}">
                      <a16:creationId xmlns:a16="http://schemas.microsoft.com/office/drawing/2014/main" id="{6ADE02D9-8517-3F9F-B3D5-08DE1104F487}"/>
                    </a:ext>
                  </a:extLst>
                </p:cNvPr>
                <p:cNvSpPr>
                  <a:spLocks noEditPoints="1"/>
                </p:cNvSpPr>
                <p:nvPr/>
              </p:nvSpPr>
              <p:spPr bwMode="gray">
                <a:xfrm>
                  <a:off x="3891" y="345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Oval 899">
                  <a:extLst>
                    <a:ext uri="{FF2B5EF4-FFF2-40B4-BE49-F238E27FC236}">
                      <a16:creationId xmlns:a16="http://schemas.microsoft.com/office/drawing/2014/main" id="{F8254CCE-63C6-999E-E347-0765F57431BB}"/>
                    </a:ext>
                  </a:extLst>
                </p:cNvPr>
                <p:cNvSpPr>
                  <a:spLocks noChangeArrowheads="1"/>
                </p:cNvSpPr>
                <p:nvPr/>
              </p:nvSpPr>
              <p:spPr bwMode="gray">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7" name="正方形/長方形 23">
                <a:extLst>
                  <a:ext uri="{FF2B5EF4-FFF2-40B4-BE49-F238E27FC236}">
                    <a16:creationId xmlns:a16="http://schemas.microsoft.com/office/drawing/2014/main" id="{C1281884-2581-F87B-9618-3E145075D8B4}"/>
                  </a:ext>
                </a:extLst>
              </p:cNvPr>
              <p:cNvSpPr/>
              <p:nvPr/>
            </p:nvSpPr>
            <p:spPr bwMode="gray">
              <a:xfrm>
                <a:off x="1767600" y="2272414"/>
                <a:ext cx="7560000" cy="57600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l-GR" altLang="ja-JP" sz="1600" b="0" i="0" u="none" strike="noStrike" kern="1200" cap="none" spc="0" normalizeH="0" baseline="0" noProof="0" dirty="0">
                    <a:ln>
                      <a:noFill/>
                    </a:ln>
                    <a:solidFill>
                      <a:prstClr val="black"/>
                    </a:solidFill>
                    <a:effectLst/>
                    <a:uLnTx/>
                    <a:uFillTx/>
                    <a:latin typeface="Calibri Light"/>
                    <a:ea typeface="+mn-ea"/>
                    <a:cs typeface="+mn-cs"/>
                  </a:rPr>
                  <a:t>Δεν φαίνεται να εγείρονται ιδιαίτερα ζητήματα – ΦΕΝΠ 22% στο κέρδος και έκπτωση της δαπάνης αντίστοιχα</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l-GR" altLang="ja-JP" sz="1600" dirty="0">
                    <a:solidFill>
                      <a:prstClr val="black"/>
                    </a:solidFill>
                    <a:latin typeface="Calibri Light"/>
                  </a:rPr>
                  <a:t>ΦΕΝΠ κατά την πώληση των εγγυήσεων/ή πιστοποιητικά Ανανεώσιμων Πηγών</a:t>
                </a:r>
                <a:r>
                  <a:rPr kumimoji="1" lang="el-GR" altLang="ja-JP" sz="1600" b="0" i="0" u="none" strike="noStrike" kern="1200" cap="none" spc="0" normalizeH="0" baseline="0" noProof="0" dirty="0">
                    <a:ln>
                      <a:noFill/>
                    </a:ln>
                    <a:solidFill>
                      <a:prstClr val="black"/>
                    </a:solidFill>
                    <a:effectLst/>
                    <a:uLnTx/>
                    <a:uFillTx/>
                    <a:latin typeface="Calibri Light"/>
                    <a:ea typeface="+mn-ea"/>
                    <a:cs typeface="+mn-cs"/>
                  </a:rPr>
                  <a:t> </a:t>
                </a:r>
                <a:endParaRPr kumimoji="1" lang="ja-JP" altLang="en-US" sz="1600" b="0" i="0" u="none" strike="noStrike" kern="1200" cap="none" spc="0" normalizeH="0" baseline="0" noProof="0" dirty="0">
                  <a:ln>
                    <a:noFill/>
                  </a:ln>
                  <a:solidFill>
                    <a:prstClr val="black"/>
                  </a:solidFill>
                  <a:effectLst/>
                  <a:uLnTx/>
                  <a:uFillTx/>
                  <a:latin typeface="Calibri Light"/>
                  <a:ea typeface="+mn-ea"/>
                  <a:cs typeface="+mn-cs"/>
                </a:endParaRPr>
              </a:p>
            </p:txBody>
          </p:sp>
        </p:grpSp>
        <p:grpSp>
          <p:nvGrpSpPr>
            <p:cNvPr id="9" name="グループ化 28">
              <a:extLst>
                <a:ext uri="{FF2B5EF4-FFF2-40B4-BE49-F238E27FC236}">
                  <a16:creationId xmlns:a16="http://schemas.microsoft.com/office/drawing/2014/main" id="{70BBFD98-C565-B454-A49A-F56D89894595}"/>
                </a:ext>
              </a:extLst>
            </p:cNvPr>
            <p:cNvGrpSpPr/>
            <p:nvPr/>
          </p:nvGrpSpPr>
          <p:grpSpPr>
            <a:xfrm>
              <a:off x="579000" y="3116261"/>
              <a:ext cx="8748000" cy="1008000"/>
              <a:chOff x="579600" y="2916000"/>
              <a:chExt cx="8748000" cy="1008000"/>
            </a:xfrm>
          </p:grpSpPr>
          <p:sp>
            <p:nvSpPr>
              <p:cNvPr id="13" name="フリーフォーム 15">
                <a:extLst>
                  <a:ext uri="{FF2B5EF4-FFF2-40B4-BE49-F238E27FC236}">
                    <a16:creationId xmlns:a16="http://schemas.microsoft.com/office/drawing/2014/main" id="{26BCF4F2-131D-6504-8B37-3B436D33E4A3}"/>
                  </a:ext>
                </a:extLst>
              </p:cNvPr>
              <p:cNvSpPr/>
              <p:nvPr/>
            </p:nvSpPr>
            <p:spPr bwMode="gray">
              <a:xfrm>
                <a:off x="579600" y="2916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2"/>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latin typeface="Calibri"/>
                    <a:ea typeface="+mn-ea"/>
                    <a:cs typeface="+mn-cs"/>
                  </a:rPr>
                  <a:t>   2 </a:t>
                </a:r>
                <a:r>
                  <a:rPr kumimoji="1" lang="el-GR" altLang="ja-JP" sz="1800" b="1" i="0" u="none" strike="noStrike" kern="1200" cap="none" spc="0" normalizeH="0" baseline="0" noProof="0" dirty="0">
                    <a:ln>
                      <a:noFill/>
                    </a:ln>
                    <a:solidFill>
                      <a:srgbClr val="FFFFFF"/>
                    </a:solidFill>
                    <a:effectLst/>
                    <a:uLnTx/>
                    <a:uFillTx/>
                    <a:latin typeface="Calibri"/>
                    <a:ea typeface="+mn-ea"/>
                    <a:cs typeface="+mn-cs"/>
                  </a:rPr>
                  <a:t>ΦΠΑ</a:t>
                </a:r>
                <a:endParaRPr kumimoji="1" lang="ja-JP" alt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242">
                <a:extLst>
                  <a:ext uri="{FF2B5EF4-FFF2-40B4-BE49-F238E27FC236}">
                    <a16:creationId xmlns:a16="http://schemas.microsoft.com/office/drawing/2014/main" id="{78F98943-F1A9-E221-C931-11AF637123BC}"/>
                  </a:ext>
                </a:extLst>
              </p:cNvPr>
              <p:cNvSpPr>
                <a:spLocks noChangeAspect="1" noEditPoints="1"/>
              </p:cNvSpPr>
              <p:nvPr/>
            </p:nvSpPr>
            <p:spPr bwMode="gray">
              <a:xfrm>
                <a:off x="651600" y="2988000"/>
                <a:ext cx="864000" cy="8640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 name="グループ化 27">
              <a:extLst>
                <a:ext uri="{FF2B5EF4-FFF2-40B4-BE49-F238E27FC236}">
                  <a16:creationId xmlns:a16="http://schemas.microsoft.com/office/drawing/2014/main" id="{FCC4AACA-ACA1-EA3E-1972-C00B82731FB9}"/>
                </a:ext>
              </a:extLst>
            </p:cNvPr>
            <p:cNvGrpSpPr/>
            <p:nvPr/>
          </p:nvGrpSpPr>
          <p:grpSpPr>
            <a:xfrm>
              <a:off x="579000" y="4468523"/>
              <a:ext cx="8748000" cy="1008000"/>
              <a:chOff x="579600" y="4068000"/>
              <a:chExt cx="8748000" cy="1008000"/>
            </a:xfrm>
          </p:grpSpPr>
          <p:sp>
            <p:nvSpPr>
              <p:cNvPr id="11" name="フリーフォーム 16">
                <a:extLst>
                  <a:ext uri="{FF2B5EF4-FFF2-40B4-BE49-F238E27FC236}">
                    <a16:creationId xmlns:a16="http://schemas.microsoft.com/office/drawing/2014/main" id="{77CEB125-8B37-D435-CAF1-76A18927F4C7}"/>
                  </a:ext>
                </a:extLst>
              </p:cNvPr>
              <p:cNvSpPr/>
              <p:nvPr/>
            </p:nvSpPr>
            <p:spPr bwMode="gray">
              <a:xfrm>
                <a:off x="579600" y="4068000"/>
                <a:ext cx="8748000" cy="1008000"/>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chemeClr val="accent3"/>
              </a:solidFill>
              <a:ln w="12700" algn="ctr">
                <a:noFill/>
                <a:miter lim="800000"/>
                <a:headEnd/>
                <a:tailEnd/>
              </a:ln>
            </p:spPr>
            <p:txBody>
              <a:bodyPr rot="0" spcFirstLastPara="0" vertOverflow="overflow" horzOverflow="overflow" vert="horz" wrap="square" lIns="1008000" tIns="0" rIns="0" bIns="576000" numCol="1" spcCol="0" rtlCol="0" fromWordArt="0" anchor="ctr" anchorCtr="0" forceAA="0" compatLnSpc="1">
                <a:prstTxWarp prst="textNoShape">
                  <a:avLst/>
                </a:prstTxWarp>
                <a:noAutofit/>
              </a:bodyPr>
              <a:lstStyle/>
              <a:p>
                <a:pPr marL="360000" marR="0" lvl="0" indent="-360000" algn="l" defTabSz="914400" rtl="0" eaLnBrk="1" fontAlgn="auto" latinLnBrk="0" hangingPunct="1">
                  <a:lnSpc>
                    <a:spcPct val="100000"/>
                  </a:lnSpc>
                  <a:spcBef>
                    <a:spcPts val="0"/>
                  </a:spcBef>
                  <a:spcAft>
                    <a:spcPts val="0"/>
                  </a:spcAft>
                  <a:buClrTx/>
                  <a:buSzTx/>
                  <a:buFont typeface="Wingdings 2" pitchFamily="18" charset="2"/>
                  <a:buNone/>
                  <a:tabLst/>
                  <a:defRPr/>
                </a:pPr>
                <a:r>
                  <a:rPr kumimoji="1" lang="en-US" altLang="ja-JP" sz="1800" b="1" i="0" u="none" strike="noStrike" kern="1200" cap="none" spc="0" normalizeH="0" baseline="0" noProof="0" dirty="0">
                    <a:ln>
                      <a:noFill/>
                    </a:ln>
                    <a:solidFill>
                      <a:srgbClr val="FFFFFF"/>
                    </a:solidFill>
                    <a:effectLst/>
                    <a:uLnTx/>
                    <a:uFillTx/>
                    <a:latin typeface="Calibri"/>
                    <a:ea typeface="+mn-ea"/>
                    <a:cs typeface="+mn-cs"/>
                  </a:rPr>
                  <a:t>  3 </a:t>
                </a:r>
                <a:r>
                  <a:rPr kumimoji="1" lang="el-GR" altLang="ja-JP" b="1" dirty="0">
                    <a:solidFill>
                      <a:srgbClr val="FFFFFF"/>
                    </a:solidFill>
                    <a:latin typeface="Calibri"/>
                  </a:rPr>
                  <a:t>Τιμολόγηση και λοιπά ζητήματα</a:t>
                </a:r>
                <a:endParaRPr kumimoji="1" lang="ja-JP" alt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Freeform 59">
                <a:extLst>
                  <a:ext uri="{FF2B5EF4-FFF2-40B4-BE49-F238E27FC236}">
                    <a16:creationId xmlns:a16="http://schemas.microsoft.com/office/drawing/2014/main" id="{F53CB75E-7995-AE3A-2CBA-F676963B4739}"/>
                  </a:ext>
                </a:extLst>
              </p:cNvPr>
              <p:cNvSpPr>
                <a:spLocks noChangeAspect="1" noEditPoints="1"/>
              </p:cNvSpPr>
              <p:nvPr/>
            </p:nvSpPr>
            <p:spPr bwMode="gray">
              <a:xfrm>
                <a:off x="651600" y="4140000"/>
                <a:ext cx="864000" cy="86400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bg1"/>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sp>
        <p:nvSpPr>
          <p:cNvPr id="20" name="正方形/長方形 23">
            <a:extLst>
              <a:ext uri="{FF2B5EF4-FFF2-40B4-BE49-F238E27FC236}">
                <a16:creationId xmlns:a16="http://schemas.microsoft.com/office/drawing/2014/main" id="{871FEAC2-60BC-18A9-7733-D9FAC16F8D3A}"/>
              </a:ext>
            </a:extLst>
          </p:cNvPr>
          <p:cNvSpPr/>
          <p:nvPr/>
        </p:nvSpPr>
        <p:spPr bwMode="gray">
          <a:xfrm>
            <a:off x="2000558" y="4036204"/>
            <a:ext cx="985006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el-GR" altLang="ja-JP" sz="1600" dirty="0">
                <a:solidFill>
                  <a:prstClr val="black"/>
                </a:solidFill>
                <a:latin typeface="Calibri Light"/>
              </a:rPr>
              <a:t>Δεν είναι σαφές ποιος είναι ο κατάλληλος συντελεστής ΦΠΑ. </a:t>
            </a:r>
          </a:p>
          <a:p>
            <a:pPr marL="285750" indent="-285750">
              <a:buFont typeface="Arial" panose="020B0604020202020204" pitchFamily="34" charset="0"/>
              <a:buChar char="•"/>
            </a:pPr>
            <a:r>
              <a:rPr kumimoji="1" lang="el-GR" altLang="ja-JP" sz="1600" dirty="0">
                <a:solidFill>
                  <a:prstClr val="black"/>
                </a:solidFill>
                <a:latin typeface="Calibri Light"/>
              </a:rPr>
              <a:t>Υπάρχουν οι ακόλουθες επιλογές: </a:t>
            </a:r>
            <a:r>
              <a:rPr kumimoji="1" lang="el-GR" altLang="ja-JP" sz="1600" b="1" dirty="0">
                <a:solidFill>
                  <a:srgbClr val="00A3E0"/>
                </a:solidFill>
                <a:latin typeface="Calibri Light"/>
              </a:rPr>
              <a:t>6% </a:t>
            </a:r>
            <a:r>
              <a:rPr kumimoji="1" lang="el-GR" altLang="ja-JP" sz="1600" dirty="0">
                <a:solidFill>
                  <a:prstClr val="black"/>
                </a:solidFill>
                <a:latin typeface="Calibri Light"/>
              </a:rPr>
              <a:t>ως πώληση ενέργειας / </a:t>
            </a:r>
            <a:r>
              <a:rPr kumimoji="1" lang="el-GR" altLang="ja-JP" sz="1600" b="1" dirty="0">
                <a:solidFill>
                  <a:srgbClr val="00A3E0"/>
                </a:solidFill>
                <a:latin typeface="Calibri Light"/>
              </a:rPr>
              <a:t>0%</a:t>
            </a:r>
            <a:r>
              <a:rPr kumimoji="1" lang="el-GR" altLang="ja-JP" sz="1600" dirty="0">
                <a:solidFill>
                  <a:prstClr val="black"/>
                </a:solidFill>
                <a:latin typeface="Calibri Light"/>
              </a:rPr>
              <a:t> ως χρηματοοικονομικό προϊόν / </a:t>
            </a:r>
            <a:r>
              <a:rPr kumimoji="1" lang="el-GR" altLang="ja-JP" sz="1600" b="1" dirty="0">
                <a:solidFill>
                  <a:srgbClr val="00A3E0"/>
                </a:solidFill>
                <a:latin typeface="Calibri Light"/>
              </a:rPr>
              <a:t>24%</a:t>
            </a:r>
            <a:r>
              <a:rPr kumimoji="1" lang="el-GR" altLang="ja-JP" sz="1600" dirty="0">
                <a:solidFill>
                  <a:prstClr val="black"/>
                </a:solidFill>
                <a:latin typeface="Calibri Light"/>
              </a:rPr>
              <a:t> ως παροχή υπηρεσίας</a:t>
            </a:r>
          </a:p>
          <a:p>
            <a:pPr marL="285750" indent="-285750">
              <a:buFont typeface="Arial" panose="020B0604020202020204" pitchFamily="34" charset="0"/>
              <a:buChar char="•"/>
            </a:pPr>
            <a:r>
              <a:rPr kumimoji="1" lang="el-GR" altLang="ja-JP" sz="1600" dirty="0">
                <a:solidFill>
                  <a:prstClr val="black"/>
                </a:solidFill>
                <a:latin typeface="Calibri Light"/>
              </a:rPr>
              <a:t>Υπάρχει πρόσφατη απόφαση της Ιταλία στην οποία καταλήγουν ότι τα </a:t>
            </a:r>
            <a:r>
              <a:rPr kumimoji="1" lang="el-GR" altLang="ja-JP" sz="1600" dirty="0" err="1">
                <a:solidFill>
                  <a:prstClr val="black"/>
                </a:solidFill>
                <a:latin typeface="Calibri Light"/>
              </a:rPr>
              <a:t>PPAs</a:t>
            </a:r>
            <a:r>
              <a:rPr kumimoji="1" lang="el-GR" altLang="ja-JP" sz="1600" dirty="0">
                <a:solidFill>
                  <a:prstClr val="black"/>
                </a:solidFill>
                <a:latin typeface="Calibri Light"/>
              </a:rPr>
              <a:t> είναι VAT </a:t>
            </a:r>
            <a:r>
              <a:rPr kumimoji="1" lang="el-GR" altLang="ja-JP" sz="1600" dirty="0" err="1">
                <a:solidFill>
                  <a:prstClr val="black"/>
                </a:solidFill>
                <a:latin typeface="Calibri Light"/>
              </a:rPr>
              <a:t>exempt</a:t>
            </a:r>
            <a:r>
              <a:rPr kumimoji="1" lang="el-GR" altLang="ja-JP" sz="1600" dirty="0">
                <a:solidFill>
                  <a:prstClr val="black"/>
                </a:solidFill>
                <a:latin typeface="Calibri Light"/>
              </a:rPr>
              <a:t> – </a:t>
            </a:r>
            <a:r>
              <a:rPr kumimoji="1" lang="en-US" altLang="ja-JP" sz="1600" dirty="0">
                <a:solidFill>
                  <a:prstClr val="black"/>
                </a:solidFill>
                <a:latin typeface="Calibri Light"/>
              </a:rPr>
              <a:t>Pro Rata???</a:t>
            </a:r>
            <a:endParaRPr kumimoji="1" lang="ja-JP" altLang="en-US" sz="1600" dirty="0">
              <a:solidFill>
                <a:prstClr val="black"/>
              </a:solidFill>
              <a:latin typeface="Calibri Light"/>
            </a:endParaRPr>
          </a:p>
        </p:txBody>
      </p:sp>
      <p:sp>
        <p:nvSpPr>
          <p:cNvPr id="21" name="正方形/長方形 23">
            <a:extLst>
              <a:ext uri="{FF2B5EF4-FFF2-40B4-BE49-F238E27FC236}">
                <a16:creationId xmlns:a16="http://schemas.microsoft.com/office/drawing/2014/main" id="{A118576D-01EC-8337-FD88-0C51E18D2450}"/>
              </a:ext>
            </a:extLst>
          </p:cNvPr>
          <p:cNvSpPr/>
          <p:nvPr/>
        </p:nvSpPr>
        <p:spPr bwMode="gray">
          <a:xfrm>
            <a:off x="2000558" y="5608599"/>
            <a:ext cx="9046286"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indent="-285750">
              <a:buFont typeface="Arial" panose="020B0604020202020204" pitchFamily="34" charset="0"/>
              <a:buChar char="•"/>
              <a:defRPr/>
            </a:pPr>
            <a:r>
              <a:rPr kumimoji="1" lang="el-GR" altLang="ja-JP" sz="1600" dirty="0">
                <a:solidFill>
                  <a:prstClr val="black"/>
                </a:solidFill>
                <a:latin typeface="Calibri Light"/>
              </a:rPr>
              <a:t>Εκδίδεται ανά πώληση? κάθε μήνα? Κατά την εκκαθάριση? Εκδίδεται πιστωτικό κάθε φορά για την διαφορά? Εκδίδουν τιμολόγιο αμφότεροι?</a:t>
            </a:r>
          </a:p>
          <a:p>
            <a:pPr marL="285750" indent="-285750">
              <a:buFont typeface="Arial" panose="020B0604020202020204" pitchFamily="34" charset="0"/>
              <a:buChar char="•"/>
              <a:defRPr/>
            </a:pPr>
            <a:r>
              <a:rPr kumimoji="1" lang="el-GR" altLang="ja-JP" sz="1600" dirty="0">
                <a:solidFill>
                  <a:prstClr val="black"/>
                </a:solidFill>
                <a:latin typeface="Calibri Light"/>
              </a:rPr>
              <a:t>Δεν υπάρχει καθοδήγηση στα ΕΛΠ/ΔΠΧΑ (χρηματοοικονομικό προϊόν είτε δικαίωμα χρήσης) </a:t>
            </a:r>
            <a:endParaRPr kumimoji="1" lang="ja-JP" altLang="en-US" sz="1600" dirty="0">
              <a:solidFill>
                <a:prstClr val="black"/>
              </a:solidFill>
              <a:latin typeface="Calibri Light"/>
            </a:endParaRPr>
          </a:p>
        </p:txBody>
      </p:sp>
    </p:spTree>
    <p:custDataLst>
      <p:custData r:id="rId1"/>
      <p:custData r:id="rId2"/>
      <p:tags r:id="rId3"/>
    </p:custDataLst>
    <p:extLst>
      <p:ext uri="{BB962C8B-B14F-4D97-AF65-F5344CB8AC3E}">
        <p14:creationId xmlns:p14="http://schemas.microsoft.com/office/powerpoint/2010/main" val="281087087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D6F9D1-1DC1-A131-D16D-6B5872C855BF}"/>
              </a:ext>
            </a:extLst>
          </p:cNvPr>
          <p:cNvSpPr txBox="1">
            <a:spLocks/>
          </p:cNvSpPr>
          <p:nvPr/>
        </p:nvSpPr>
        <p:spPr>
          <a:xfrm>
            <a:off x="469903" y="402598"/>
            <a:ext cx="11252200" cy="698501"/>
          </a:xfrm>
          <a:prstGeom prst="rect">
            <a:avLst/>
          </a:prstGeom>
        </p:spPr>
        <p:txBody>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l-GR" sz="2000">
                <a:latin typeface="Calibri" panose="020F0502020204030204" pitchFamily="34" charset="0"/>
                <a:cs typeface="Calibri" panose="020F0502020204030204" pitchFamily="34" charset="0"/>
              </a:rPr>
              <a:t>Διμερής συμφωνίες πώλησης ενέργειας (</a:t>
            </a:r>
            <a:r>
              <a:rPr lang="en-US" sz="2000">
                <a:latin typeface="Calibri" panose="020F0502020204030204" pitchFamily="34" charset="0"/>
                <a:cs typeface="Calibri" panose="020F0502020204030204" pitchFamily="34" charset="0"/>
              </a:rPr>
              <a:t>PPA’s)</a:t>
            </a:r>
            <a:endParaRPr lang="en-US" sz="2000" dirty="0">
              <a:latin typeface="Calibri" panose="020F0502020204030204" pitchFamily="34" charset="0"/>
              <a:cs typeface="Calibri" panose="020F0502020204030204" pitchFamily="34" charset="0"/>
            </a:endParaRPr>
          </a:p>
        </p:txBody>
      </p:sp>
      <p:sp>
        <p:nvSpPr>
          <p:cNvPr id="6" name="Text Placeholder 3">
            <a:extLst>
              <a:ext uri="{FF2B5EF4-FFF2-40B4-BE49-F238E27FC236}">
                <a16:creationId xmlns:a16="http://schemas.microsoft.com/office/drawing/2014/main" id="{96259DBA-53C1-BB1A-89A2-DD72600505CF}"/>
              </a:ext>
            </a:extLst>
          </p:cNvPr>
          <p:cNvSpPr txBox="1">
            <a:spLocks/>
          </p:cNvSpPr>
          <p:nvPr/>
        </p:nvSpPr>
        <p:spPr>
          <a:xfrm>
            <a:off x="469903" y="736701"/>
            <a:ext cx="11252200" cy="75725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1219170"/>
            <a:r>
              <a:rPr lang="el-GR" sz="1800" dirty="0">
                <a:latin typeface="Calibri" panose="020F0502020204030204" pitchFamily="34" charset="0"/>
                <a:cs typeface="Calibri" panose="020F0502020204030204" pitchFamily="34" charset="0"/>
              </a:rPr>
              <a:t>Τι έρχεται</a:t>
            </a:r>
            <a:endParaRPr lang="en-US" sz="1800" dirty="0">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AE3488BC-5B6F-63CD-A42F-9EA3A96AEB50}"/>
              </a:ext>
            </a:extLst>
          </p:cNvPr>
          <p:cNvPicPr>
            <a:picLocks noChangeAspect="1"/>
          </p:cNvPicPr>
          <p:nvPr/>
        </p:nvPicPr>
        <p:blipFill>
          <a:blip r:embed="rId6"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475696" y="0"/>
            <a:ext cx="10716304" cy="6858000"/>
          </a:xfrm>
          <a:prstGeom prst="rect">
            <a:avLst/>
          </a:prstGeom>
        </p:spPr>
      </p:pic>
      <p:sp>
        <p:nvSpPr>
          <p:cNvPr id="3" name="Rectangle: Rounded Corners 2">
            <a:extLst>
              <a:ext uri="{FF2B5EF4-FFF2-40B4-BE49-F238E27FC236}">
                <a16:creationId xmlns:a16="http://schemas.microsoft.com/office/drawing/2014/main" id="{B688713A-10E7-C651-B465-9BE8BF66B488}"/>
              </a:ext>
            </a:extLst>
          </p:cNvPr>
          <p:cNvSpPr/>
          <p:nvPr/>
        </p:nvSpPr>
        <p:spPr>
          <a:xfrm>
            <a:off x="952835" y="3905778"/>
            <a:ext cx="3124200" cy="1313483"/>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l-GR" sz="1400" b="1" i="0" u="none" strike="noStrike" kern="0" cap="all" spc="200" normalizeH="0" baseline="0" noProof="0" dirty="0" err="1">
                <a:ln>
                  <a:noFill/>
                </a:ln>
                <a:solidFill>
                  <a:srgbClr val="000000"/>
                </a:solidFill>
                <a:effectLst/>
                <a:uLnTx/>
                <a:uFillTx/>
                <a:latin typeface="Open Sans"/>
                <a:ea typeface="Open Sans" charset="0"/>
                <a:cs typeface="Open Sans" charset="0"/>
              </a:rPr>
              <a:t>ΕιδικΗ</a:t>
            </a:r>
            <a:r>
              <a:rPr kumimoji="0" lang="el-GR" sz="1400" b="1" i="0" u="none" strike="noStrike" kern="0" cap="all" spc="200" normalizeH="0" baseline="0" noProof="0" dirty="0">
                <a:ln>
                  <a:noFill/>
                </a:ln>
                <a:solidFill>
                  <a:srgbClr val="000000"/>
                </a:solidFill>
                <a:effectLst/>
                <a:uLnTx/>
                <a:uFillTx/>
                <a:latin typeface="Open Sans"/>
                <a:ea typeface="Open Sans" charset="0"/>
                <a:cs typeface="Open Sans" charset="0"/>
              </a:rPr>
              <a:t> </a:t>
            </a:r>
            <a:r>
              <a:rPr kumimoji="0" lang="el-GR" sz="1400" b="1" i="0" u="none" strike="noStrike" kern="0" cap="all" spc="200" normalizeH="0" baseline="0" noProof="0" dirty="0" err="1">
                <a:ln>
                  <a:noFill/>
                </a:ln>
                <a:solidFill>
                  <a:srgbClr val="000000"/>
                </a:solidFill>
                <a:effectLst/>
                <a:uLnTx/>
                <a:uFillTx/>
                <a:latin typeface="Open Sans"/>
                <a:ea typeface="Open Sans" charset="0"/>
                <a:cs typeface="Open Sans" charset="0"/>
              </a:rPr>
              <a:t>πλατφΟρμα</a:t>
            </a:r>
            <a:r>
              <a:rPr kumimoji="0" lang="el-GR" sz="1400" b="1" i="0" u="none" strike="noStrike" kern="0" cap="all" spc="200" normalizeH="0" baseline="0" noProof="0" dirty="0">
                <a:ln>
                  <a:noFill/>
                </a:ln>
                <a:solidFill>
                  <a:srgbClr val="000000"/>
                </a:solidFill>
                <a:effectLst/>
                <a:uLnTx/>
                <a:uFillTx/>
                <a:latin typeface="Open Sans"/>
                <a:ea typeface="Open Sans" charset="0"/>
                <a:cs typeface="Open Sans" charset="0"/>
              </a:rPr>
              <a:t> </a:t>
            </a:r>
            <a:r>
              <a:rPr kumimoji="0" lang="el-GR" sz="1400" b="1" i="0" u="none" strike="noStrike" kern="0" cap="all" spc="200" normalizeH="0" baseline="0" noProof="0" dirty="0" err="1">
                <a:ln>
                  <a:noFill/>
                </a:ln>
                <a:solidFill>
                  <a:srgbClr val="000000"/>
                </a:solidFill>
                <a:effectLst/>
                <a:uLnTx/>
                <a:uFillTx/>
                <a:latin typeface="Open Sans"/>
                <a:ea typeface="Open Sans" charset="0"/>
                <a:cs typeface="Open Sans" charset="0"/>
              </a:rPr>
              <a:t>σΥναψης</a:t>
            </a:r>
            <a:r>
              <a:rPr kumimoji="0" lang="el-GR" sz="1400" b="1" i="0" u="none" strike="noStrike" kern="0" cap="all" spc="200" normalizeH="0" baseline="0" noProof="0" dirty="0">
                <a:ln>
                  <a:noFill/>
                </a:ln>
                <a:solidFill>
                  <a:srgbClr val="000000"/>
                </a:solidFill>
                <a:effectLst/>
                <a:uLnTx/>
                <a:uFillTx/>
                <a:latin typeface="Open Sans"/>
                <a:ea typeface="Open Sans" charset="0"/>
                <a:cs typeface="Open Sans" charset="0"/>
              </a:rPr>
              <a:t> PPA</a:t>
            </a:r>
            <a:endPar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l-GR"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Το ΕΧΕ διερευνά τη δυνατότητα δημιουργίας πλατφόρμας σύναψης </a:t>
            </a:r>
            <a:r>
              <a:rPr kumimoji="0" lang="el-GR" sz="1300" b="0" i="0" u="none" strike="noStrike" kern="1200" cap="none" spc="0" normalizeH="0" baseline="0" noProof="0" dirty="0" err="1">
                <a:ln>
                  <a:noFill/>
                </a:ln>
                <a:solidFill>
                  <a:srgbClr val="000000"/>
                </a:solidFill>
                <a:effectLst/>
                <a:uLnTx/>
                <a:uFillTx/>
                <a:latin typeface="Open Sans"/>
                <a:ea typeface="Open Sans Light" panose="020B0306030504020204" pitchFamily="34" charset="0"/>
                <a:cs typeface="Open Sans Light" panose="020B0306030504020204" pitchFamily="34" charset="0"/>
              </a:rPr>
              <a:t>PPAs</a:t>
            </a:r>
            <a:r>
              <a:rPr kumimoji="0" lang="el-GR"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 από ΑΠΕ</a:t>
            </a:r>
            <a:endPar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4" name="Rectangle 3">
            <a:extLst>
              <a:ext uri="{FF2B5EF4-FFF2-40B4-BE49-F238E27FC236}">
                <a16:creationId xmlns:a16="http://schemas.microsoft.com/office/drawing/2014/main" id="{6CA092F3-9A62-6195-2BD6-6BD825181174}"/>
              </a:ext>
            </a:extLst>
          </p:cNvPr>
          <p:cNvSpPr/>
          <p:nvPr/>
        </p:nvSpPr>
        <p:spPr>
          <a:xfrm>
            <a:off x="2462038" y="5217476"/>
            <a:ext cx="105794" cy="7511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C11F137D-10A8-B941-06F0-5CE1C558810F}"/>
              </a:ext>
            </a:extLst>
          </p:cNvPr>
          <p:cNvSpPr/>
          <p:nvPr/>
        </p:nvSpPr>
        <p:spPr>
          <a:xfrm>
            <a:off x="10118200" y="3822192"/>
            <a:ext cx="105794" cy="5660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7" name="Rectangle: Rounded Corners 26">
            <a:extLst>
              <a:ext uri="{FF2B5EF4-FFF2-40B4-BE49-F238E27FC236}">
                <a16:creationId xmlns:a16="http://schemas.microsoft.com/office/drawing/2014/main" id="{34E0B673-69CB-F6BE-D04C-31763C1699E8}"/>
              </a:ext>
            </a:extLst>
          </p:cNvPr>
          <p:cNvSpPr/>
          <p:nvPr/>
        </p:nvSpPr>
        <p:spPr>
          <a:xfrm>
            <a:off x="8401348" y="1682496"/>
            <a:ext cx="3485852" cy="2139696"/>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0" cap="all" spc="200" normalizeH="0" baseline="0" noProof="0" dirty="0">
                <a:ln>
                  <a:noFill/>
                </a:ln>
                <a:solidFill>
                  <a:srgbClr val="000000"/>
                </a:solidFill>
                <a:effectLst/>
                <a:uLnTx/>
                <a:uFillTx/>
                <a:latin typeface="Open Sans"/>
                <a:ea typeface="Open Sans" charset="0"/>
                <a:cs typeface="Open Sans" charset="0"/>
              </a:rPr>
              <a:t>Green pool</a:t>
            </a:r>
          </a:p>
          <a:p>
            <a:pPr marL="0" marR="0" lvl="0" indent="0" algn="ctr" defTabSz="914400" rtl="0" eaLnBrk="1" fontAlgn="auto" latinLnBrk="0" hangingPunct="1">
              <a:lnSpc>
                <a:spcPct val="100000"/>
              </a:lnSpc>
              <a:spcBef>
                <a:spcPts val="600"/>
              </a:spcBef>
              <a:spcAft>
                <a:spcPts val="0"/>
              </a:spcAft>
              <a:buClrTx/>
              <a:buSzTx/>
              <a:buFontTx/>
              <a:buNone/>
              <a:tabLst/>
              <a:defRPr/>
            </a:pPr>
            <a:r>
              <a:rPr lang="el-GR" sz="1300" dirty="0">
                <a:solidFill>
                  <a:srgbClr val="000000"/>
                </a:solidFill>
                <a:latin typeface="Open Sans"/>
                <a:ea typeface="Open Sans Light" panose="020B0306030504020204" pitchFamily="34" charset="0"/>
                <a:cs typeface="Open Sans Light" panose="020B0306030504020204" pitchFamily="34" charset="0"/>
              </a:rPr>
              <a:t>Τ</a:t>
            </a:r>
            <a:r>
              <a:rPr kumimoji="0" lang="el-GR" sz="13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rPr>
              <a:t>ο </a:t>
            </a:r>
            <a:r>
              <a:rPr kumimoji="0" lang="el-GR"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υπουργείο Ενέργειας, το οποίο αναμένεται να δημιουργήσει έναν ΦΟΣΕ (</a:t>
            </a:r>
            <a:r>
              <a:rPr kumimoji="0" lang="el-GR" sz="1300" b="0" i="0" u="none" strike="noStrike" kern="1200" cap="none" spc="0" normalizeH="0" baseline="0" noProof="0" dirty="0" err="1">
                <a:ln>
                  <a:noFill/>
                </a:ln>
                <a:solidFill>
                  <a:srgbClr val="000000"/>
                </a:solidFill>
                <a:effectLst/>
                <a:uLnTx/>
                <a:uFillTx/>
                <a:latin typeface="Open Sans"/>
                <a:ea typeface="Open Sans Light" panose="020B0306030504020204" pitchFamily="34" charset="0"/>
                <a:cs typeface="Open Sans Light" panose="020B0306030504020204" pitchFamily="34" charset="0"/>
              </a:rPr>
              <a:t>aggregator</a:t>
            </a:r>
            <a:r>
              <a:rPr kumimoji="0" lang="el-GR"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 το «Green </a:t>
            </a:r>
            <a:r>
              <a:rPr kumimoji="0" lang="el-GR" sz="1300" b="0" i="0" u="none" strike="noStrike" kern="1200" cap="none" spc="0" normalizeH="0" baseline="0" noProof="0" dirty="0" err="1">
                <a:ln>
                  <a:noFill/>
                </a:ln>
                <a:solidFill>
                  <a:srgbClr val="000000"/>
                </a:solidFill>
                <a:effectLst/>
                <a:uLnTx/>
                <a:uFillTx/>
                <a:latin typeface="Open Sans"/>
                <a:ea typeface="Open Sans Light" panose="020B0306030504020204" pitchFamily="34" charset="0"/>
                <a:cs typeface="Open Sans Light" panose="020B0306030504020204" pitchFamily="34" charset="0"/>
              </a:rPr>
              <a:t>Pool</a:t>
            </a:r>
            <a:r>
              <a:rPr kumimoji="0" lang="el-GR"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 στον οποίο θα διαθέτουν την ενέργεια οι παραγωγοί ΑΠΕ, και ο οποίος θα προμηθεύει </a:t>
            </a:r>
            <a:r>
              <a:rPr kumimoji="0" lang="el-GR" sz="1300" b="0" i="0" u="none" strike="noStrike" kern="1200" cap="none" spc="0" normalizeH="0" baseline="0" noProof="0" dirty="0" err="1">
                <a:ln>
                  <a:noFill/>
                </a:ln>
                <a:solidFill>
                  <a:srgbClr val="000000"/>
                </a:solidFill>
                <a:effectLst/>
                <a:uLnTx/>
                <a:uFillTx/>
                <a:latin typeface="Open Sans"/>
                <a:ea typeface="Open Sans Light" panose="020B0306030504020204" pitchFamily="34" charset="0"/>
                <a:cs typeface="Open Sans Light" panose="020B0306030504020204" pitchFamily="34" charset="0"/>
              </a:rPr>
              <a:t>ενεργοβόρους</a:t>
            </a:r>
            <a:r>
              <a:rPr kumimoji="0" lang="el-GR"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 καταναλωτές, εκτός του ΕΧΕ, μέσω </a:t>
            </a:r>
            <a:r>
              <a:rPr kumimoji="0" lang="el-GR" sz="1300" b="0" i="0" u="none" strike="noStrike" kern="1200" cap="none" spc="0" normalizeH="0" baseline="0" noProof="0" dirty="0" err="1">
                <a:ln>
                  <a:noFill/>
                </a:ln>
                <a:solidFill>
                  <a:srgbClr val="000000"/>
                </a:solidFill>
                <a:effectLst/>
                <a:uLnTx/>
                <a:uFillTx/>
                <a:latin typeface="Open Sans"/>
                <a:ea typeface="Open Sans Light" panose="020B0306030504020204" pitchFamily="34" charset="0"/>
                <a:cs typeface="Open Sans Light" panose="020B0306030504020204" pitchFamily="34" charset="0"/>
              </a:rPr>
              <a:t>PPAs</a:t>
            </a:r>
            <a:r>
              <a:rPr kumimoji="0" lang="el-GR"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rPr>
              <a:t> που θα συνάπτουν.</a:t>
            </a:r>
            <a:endParaRPr kumimoji="0" lang="en-US" sz="13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Tree>
    <p:custDataLst>
      <p:custData r:id="rId1"/>
      <p:custData r:id="rId2"/>
      <p:tags r:id="rId3"/>
    </p:custDataLst>
    <p:extLst>
      <p:ext uri="{BB962C8B-B14F-4D97-AF65-F5344CB8AC3E}">
        <p14:creationId xmlns:p14="http://schemas.microsoft.com/office/powerpoint/2010/main" val="277834769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EMPLAFYSLIDEID" val="637673154959375001"/>
</p:tagLst>
</file>

<file path=ppt/tags/tag2.xml><?xml version="1.0" encoding="utf-8"?>
<p:tagLst xmlns:a="http://schemas.openxmlformats.org/drawingml/2006/main" xmlns:r="http://schemas.openxmlformats.org/officeDocument/2006/relationships" xmlns:p="http://schemas.openxmlformats.org/presentationml/2006/main">
  <p:tag name="TEMPLAFYSLIDEID" val="637673154951249175"/>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sokaragiannis\AppData\Local\Templafy\AddIns\PowerPointVsto\Tax_Clarity_hero_black_lores_001.png"/>
</p:tagLst>
</file>

<file path=ppt/tags/tag4.xml><?xml version="1.0" encoding="utf-8"?>
<p:tagLst xmlns:a="http://schemas.openxmlformats.org/drawingml/2006/main" xmlns:r="http://schemas.openxmlformats.org/officeDocument/2006/relationships" xmlns:p="http://schemas.openxmlformats.org/presentationml/2006/main">
  <p:tag name="TEMPLAFYSLIDEID" val="637673154956406069"/>
</p:tagLst>
</file>

<file path=ppt/tags/tag5.xml><?xml version="1.0" encoding="utf-8"?>
<p:tagLst xmlns:a="http://schemas.openxmlformats.org/drawingml/2006/main" xmlns:r="http://schemas.openxmlformats.org/officeDocument/2006/relationships" xmlns:p="http://schemas.openxmlformats.org/presentationml/2006/main">
  <p:tag name="TEMPLAFYSLIDEID" val="637673154956406069"/>
</p:tagLst>
</file>

<file path=ppt/tags/tag6.xml><?xml version="1.0" encoding="utf-8"?>
<p:tagLst xmlns:a="http://schemas.openxmlformats.org/drawingml/2006/main" xmlns:r="http://schemas.openxmlformats.org/officeDocument/2006/relationships" xmlns:p="http://schemas.openxmlformats.org/presentationml/2006/main">
  <p:tag name="TEMPLAFYSLIDEID" val="637673154956406069"/>
</p:tagLst>
</file>

<file path=ppt/tags/tag7.xml><?xml version="1.0" encoding="utf-8"?>
<p:tagLst xmlns:a="http://schemas.openxmlformats.org/drawingml/2006/main" xmlns:r="http://schemas.openxmlformats.org/officeDocument/2006/relationships" xmlns:p="http://schemas.openxmlformats.org/presentationml/2006/main">
  <p:tag name="TEMPLAFYSLIDEID" val="637673154956406069"/>
</p:tagLst>
</file>

<file path=ppt/tags/tag8.xml><?xml version="1.0" encoding="utf-8"?>
<p:tagLst xmlns:a="http://schemas.openxmlformats.org/drawingml/2006/main" xmlns:r="http://schemas.openxmlformats.org/officeDocument/2006/relationships" xmlns:p="http://schemas.openxmlformats.org/presentationml/2006/main">
  <p:tag name="TEMPLAFYSLIDEID" val="637673154956406069"/>
</p:tagLst>
</file>

<file path=ppt/tags/tag9.xml><?xml version="1.0" encoding="utf-8"?>
<p:tagLst xmlns:a="http://schemas.openxmlformats.org/drawingml/2006/main" xmlns:r="http://schemas.openxmlformats.org/officeDocument/2006/relationships" xmlns:p="http://schemas.openxmlformats.org/presentationml/2006/main">
  <p:tag name="TEMPLAFYSLIDEID" val="637673154956406069"/>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CF146C4-F33C-4674-9F60-3E413DE8D245}" vid="{1FA3A202-160F-48F1-9CAA-9049691AC6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C2B36C4BE05644EA8368ED4EDA14B80" ma:contentTypeVersion="" ma:contentTypeDescription="Create a new document." ma:contentTypeScope="" ma:versionID="a77dd94a844cdafa16c8ee1558892fe6">
  <xsd:schema xmlns:xsd="http://www.w3.org/2001/XMLSchema" xmlns:xs="http://www.w3.org/2001/XMLSchema" xmlns:p="http://schemas.microsoft.com/office/2006/metadata/properties" xmlns:ns2="61ccaf7c-3799-4e31-8dd3-dad79aad6143" xmlns:ns3="bc9d7578-f008-4040-bae1-a89c7653d312" targetNamespace="http://schemas.microsoft.com/office/2006/metadata/properties" ma:root="true" ma:fieldsID="36538adf3f0b1021c285813a324f7ccf" ns2:_="" ns3:_="">
    <xsd:import namespace="61ccaf7c-3799-4e31-8dd3-dad79aad6143"/>
    <xsd:import namespace="bc9d7578-f008-4040-bae1-a89c7653d312"/>
    <xsd:element name="properties">
      <xsd:complexType>
        <xsd:sequence>
          <xsd:element name="documentManagement">
            <xsd:complexType>
              <xsd:all>
                <xsd:element ref="ns2:Category" minOccurs="0"/>
                <xsd:element ref="ns2:Sub_x0020_Category" minOccurs="0"/>
                <xsd:element ref="ns2:Info_x0020_Type" minOccurs="0"/>
                <xsd:element ref="ns2:Service_x0020_Lines" minOccurs="0"/>
                <xsd:element ref="ns2:Industry_x0020_Sectors" minOccurs="0"/>
                <xsd:element ref="ns2:DM_x0020_Author" minOccurs="0"/>
                <xsd:element ref="ns2:DM_x0020_Creation_x0020_Date" minOccurs="0"/>
                <xsd:element ref="ns2:DM_x0020_Last_x0020_Edit_x0020_Date" minOccurs="0"/>
                <xsd:element ref="ns3:Produc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ccaf7c-3799-4e31-8dd3-dad79aad6143" elementFormDefault="qualified">
    <xsd:import namespace="http://schemas.microsoft.com/office/2006/documentManagement/types"/>
    <xsd:import namespace="http://schemas.microsoft.com/office/infopath/2007/PartnerControls"/>
    <xsd:element name="Category" ma:index="8" nillable="true" ma:displayName="Category" ma:internalName="Category">
      <xsd:simpleType>
        <xsd:restriction base="dms:Text">
          <xsd:maxLength value="255"/>
        </xsd:restriction>
      </xsd:simpleType>
    </xsd:element>
    <xsd:element name="Sub_x0020_Category" ma:index="9" nillable="true" ma:displayName="Sub Category" ma:internalName="Sub_x0020_Category">
      <xsd:simpleType>
        <xsd:restriction base="dms:Text">
          <xsd:maxLength value="255"/>
        </xsd:restriction>
      </xsd:simpleType>
    </xsd:element>
    <xsd:element name="Info_x0020_Type" ma:index="10" nillable="true" ma:displayName="Info Type" ma:internalName="Info_x0020_Type">
      <xsd:simpleType>
        <xsd:restriction base="dms:Text">
          <xsd:maxLength value="255"/>
        </xsd:restriction>
      </xsd:simpleType>
    </xsd:element>
    <xsd:element name="Service_x0020_Lines" ma:index="11" nillable="true" ma:displayName="Service Lines" ma:internalName="Service_x0020_Lines">
      <xsd:simpleType>
        <xsd:restriction base="dms:Text">
          <xsd:maxLength value="255"/>
        </xsd:restriction>
      </xsd:simpleType>
    </xsd:element>
    <xsd:element name="Industry_x0020_Sectors" ma:index="12" nillable="true" ma:displayName="Industry Sectors" ma:internalName="Industry_x0020_Sectors">
      <xsd:simpleType>
        <xsd:restriction base="dms:Text">
          <xsd:maxLength value="255"/>
        </xsd:restriction>
      </xsd:simpleType>
    </xsd:element>
    <xsd:element name="DM_x0020_Author" ma:index="13" nillable="true" ma:displayName="DM Author" ma:internalName="DM_x0020_Author">
      <xsd:simpleType>
        <xsd:restriction base="dms:Text">
          <xsd:maxLength value="255"/>
        </xsd:restriction>
      </xsd:simpleType>
    </xsd:element>
    <xsd:element name="DM_x0020_Creation_x0020_Date" ma:index="14" nillable="true" ma:displayName="DM Creation Date" ma:format="DateOnly" ma:internalName="DM_x0020_Creation_x0020_Date">
      <xsd:simpleType>
        <xsd:restriction base="dms:DateTime"/>
      </xsd:simpleType>
    </xsd:element>
    <xsd:element name="DM_x0020_Last_x0020_Edit_x0020_Date" ma:index="15" nillable="true" ma:displayName="DM Last Edit Date" ma:format="DateOnly" ma:internalName="DM_x0020_Last_x0020_Edit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bc9d7578-f008-4040-bae1-a89c7653d312" elementFormDefault="qualified">
    <xsd:import namespace="http://schemas.microsoft.com/office/2006/documentManagement/types"/>
    <xsd:import namespace="http://schemas.microsoft.com/office/infopath/2007/PartnerControls"/>
    <xsd:element name="Production_x0020_Date" ma:index="16" nillable="true" ma:displayName="Production Date" ma:format="DateOnly" ma:internalName="Production_x0020_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TemplafySlideTemplateConfiguration><![CDATA[{"slideVersion":1,"isValidatorEnabled":false,"isLocked":false,"elementsMetadata":[],"slideId":"637690278721522354","enableDocumentContentUpdater":false,"version":"2.0"}]]></TemplafySlideTemplate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slideVersion":1,"isValidatorEnabled":false,"isLocked":false,"elementsMetadata":[],"slideId":"637690278721522354","enableDocumentContentUpdater":false,"version":"2.0"}]]></TemplafySlideTemplateConfiguration>
</file>

<file path=customXml/item14.xml><?xml version="1.0" encoding="utf-8"?>
<TemplafySlideTemplateConfiguration><![CDATA[{"slideVersion":1,"isValidatorEnabled":false,"isLocked":false,"elementsMetadata":[],"slideId":"637690274173082918","enableDocumentContentUpdater":false,"version":"2.0"}]]></TemplafySlideTemplateConfiguration>
</file>

<file path=customXml/item15.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TemplateConfiguration><![CDATA[{"slideVersion":1,"isValidatorEnabled":false,"isLocked":false,"elementsMetadata":[],"slideId":"637690278721522354","enableDocumentContentUpdater":false,"version":"2.0"}]]></TemplafySlideTemplateConfiguration>
</file>

<file path=customXml/item18.xml><?xml version="1.0" encoding="utf-8"?>
<TemplafySlideTemplateConfiguration><![CDATA[{"slideVersion":1,"isValidatorEnabled":false,"isLocked":false,"elementsMetadata":[],"slideId":"637690274173082918","enableDocumentContentUpdater":false,"version":"2.0"}]]></TemplafySlideTemplateConfiguration>
</file>

<file path=customXml/item19.xml><?xml version="1.0" encoding="utf-8"?>
<TemplafySlideFormConfiguration><![CDATA[{"formFields":[],"formDataEntries":[]}]]></TemplafySlideFormConfiguration>
</file>

<file path=customXml/item2.xml><?xml version="1.0" encoding="utf-8"?>
<p:properties xmlns:p="http://schemas.microsoft.com/office/2006/metadata/properties" xmlns:xsi="http://www.w3.org/2001/XMLSchema-instance" xmlns:pc="http://schemas.microsoft.com/office/infopath/2007/PartnerControls">
  <documentManagement>
    <Industry_x0020_Sectors xmlns="61ccaf7c-3799-4e31-8dd3-dad79aad6143" xsi:nil="true"/>
    <DM_x0020_Creation_x0020_Date xmlns="61ccaf7c-3799-4e31-8dd3-dad79aad6143" xsi:nil="true"/>
    <Info_x0020_Type xmlns="61ccaf7c-3799-4e31-8dd3-dad79aad6143" xsi:nil="true"/>
    <DM_x0020_Last_x0020_Edit_x0020_Date xmlns="61ccaf7c-3799-4e31-8dd3-dad79aad6143" xsi:nil="true"/>
    <Category xmlns="61ccaf7c-3799-4e31-8dd3-dad79aad6143" xsi:nil="true"/>
    <Service_x0020_Lines xmlns="61ccaf7c-3799-4e31-8dd3-dad79aad6143" xsi:nil="true"/>
    <Production_x0020_Date xmlns="bc9d7578-f008-4040-bae1-a89c7653d312" xsi:nil="true"/>
    <DM_x0020_Author xmlns="61ccaf7c-3799-4e31-8dd3-dad79aad6143" xsi:nil="true"/>
    <Sub_x0020_Category xmlns="61ccaf7c-3799-4e31-8dd3-dad79aad6143" xsi:nil="true"/>
  </documentManagement>
</p:properties>
</file>

<file path=customXml/item20.xml><?xml version="1.0" encoding="utf-8"?>
<TemplafySlideFormConfiguration><![CDATA[{"formFields":[],"formDataEntries":[]}]]></TemplafySlideFormConfiguration>
</file>

<file path=customXml/item21.xml><?xml version="1.0" encoding="utf-8"?>
<TemplafySlideTemplateConfiguration><![CDATA[{"slideVersion":1,"isValidatorEnabled":false,"isLocked":false,"elementsMetadata":[],"slideId":"637690278721522354","enableDocumentContentUpdater":false,"version":"2.0"}]]></TemplafySlideTemplateConfiguration>
</file>

<file path=customXml/item22.xml><?xml version="1.0" encoding="utf-8"?>
<TemplafySlideTemplateConfiguration><![CDATA[{"slideVersion":1,"isValidatorEnabled":false,"isLocked":false,"elementsMetadata":[],"slideId":"637690278721522354","enableDocumentContentUpdater":false,"version":"2.0"}]]></TemplafySlideTemplateConfiguration>
</file>

<file path=customXml/item23.xml><?xml version="1.0" encoding="utf-8"?>
<TemplafySlideFormConfiguration><![CDATA[{"formFields":[],"formDataEntries":[]}]]></TemplafySlideFormConfiguration>
</file>

<file path=customXml/item24.xml><?xml version="1.0" encoding="utf-8"?>
<TemplafySlideFormConfiguration><![CDATA[{"formFields":[],"formDataEntries":[]}]]></TemplafySlideFormConfiguration>
</file>

<file path=customXml/item25.xml><?xml version="1.0" encoding="utf-8"?>
<TemplafySlideTemplateConfiguration><![CDATA[{"slideVersion":1,"isValidatorEnabled":false,"isLocked":false,"elementsMetadata":[],"slideId":"637690278753254048","enableDocumentContentUpdater":false,"version":"2.0"}]]></TemplafySlideTemplate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TemplafyTemplateConfiguration><![CDATA[{"elementsMetadata":[],"transformationConfigurations":[],"templateName":"Deloitte Blank","templateDescription":"","enableDocumentContentUpdater":false,"version":"2.0"}]]></TemplafyTemplateConfiguration>
</file>

<file path=customXml/item5.xml><?xml version="1.0" encoding="utf-8"?>
<TemplafyFormConfiguration><![CDATA[{"formFields":[],"formDataEntries":[]}]]></TemplafyFormConfiguration>
</file>

<file path=customXml/item6.xml><?xml version="1.0" encoding="utf-8"?>
<TemplafySlideTemplateConfiguration><![CDATA[{"slideVersion":1,"isValidatorEnabled":false,"isLocked":false,"elementsMetadata":[],"slideId":"637690278680915926","enableDocumentContentUpdater":false,"version":"2.0"}]]></TemplafySlideTemplateConfiguration>
</file>

<file path=customXml/item7.xml><?xml version="1.0" encoding="utf-8"?>
<TemplafySlideFormConfiguration><![CDATA[{"formFields":[],"formDataEntries":[]}]]></TemplafySlideFormConfiguration>
</file>

<file path=customXml/item8.xml><?xml version="1.0" encoding="utf-8"?>
<TemplafySlideTemplateConfiguration><![CDATA[{"slideVersion":1,"isValidatorEnabled":false,"isLocked":false,"elementsMetadata":[],"slideId":"637690278721522354","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4D85B36B-B5D0-4CC7-91AF-C19AD9519F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ccaf7c-3799-4e31-8dd3-dad79aad6143"/>
    <ds:schemaRef ds:uri="bc9d7578-f008-4040-bae1-a89c7653d3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CBFA5457-C711-4E54-8DFE-5D825936AFB9}">
  <ds:schemaRefs/>
</ds:datastoreItem>
</file>

<file path=customXml/itemProps11.xml><?xml version="1.0" encoding="utf-8"?>
<ds:datastoreItem xmlns:ds="http://schemas.openxmlformats.org/officeDocument/2006/customXml" ds:itemID="{A52AA7E0-9AE9-496C-B03E-B95CDDF28EA7}">
  <ds:schemaRefs/>
</ds:datastoreItem>
</file>

<file path=customXml/itemProps12.xml><?xml version="1.0" encoding="utf-8"?>
<ds:datastoreItem xmlns:ds="http://schemas.openxmlformats.org/officeDocument/2006/customXml" ds:itemID="{FAF3FFFA-5222-4D9A-92DF-DF4A91E944B2}">
  <ds:schemaRefs/>
</ds:datastoreItem>
</file>

<file path=customXml/itemProps13.xml><?xml version="1.0" encoding="utf-8"?>
<ds:datastoreItem xmlns:ds="http://schemas.openxmlformats.org/officeDocument/2006/customXml" ds:itemID="{520D58C7-01BE-45AC-AB13-B4759511D3EC}">
  <ds:schemaRefs/>
</ds:datastoreItem>
</file>

<file path=customXml/itemProps14.xml><?xml version="1.0" encoding="utf-8"?>
<ds:datastoreItem xmlns:ds="http://schemas.openxmlformats.org/officeDocument/2006/customXml" ds:itemID="{00DA7478-5D6A-4D0D-A85D-783FFD4777CD}">
  <ds:schemaRefs/>
</ds:datastoreItem>
</file>

<file path=customXml/itemProps15.xml><?xml version="1.0" encoding="utf-8"?>
<ds:datastoreItem xmlns:ds="http://schemas.openxmlformats.org/officeDocument/2006/customXml" ds:itemID="{071963B3-659B-44CF-9F25-4AA62930202B}">
  <ds:schemaRefs/>
</ds:datastoreItem>
</file>

<file path=customXml/itemProps16.xml><?xml version="1.0" encoding="utf-8"?>
<ds:datastoreItem xmlns:ds="http://schemas.openxmlformats.org/officeDocument/2006/customXml" ds:itemID="{DD9D9327-1CA0-4B78-B58A-FF60F1B179A5}">
  <ds:schemaRefs/>
</ds:datastoreItem>
</file>

<file path=customXml/itemProps17.xml><?xml version="1.0" encoding="utf-8"?>
<ds:datastoreItem xmlns:ds="http://schemas.openxmlformats.org/officeDocument/2006/customXml" ds:itemID="{955D7921-52E8-4FDF-9C58-C57078A1F64F}">
  <ds:schemaRefs/>
</ds:datastoreItem>
</file>

<file path=customXml/itemProps18.xml><?xml version="1.0" encoding="utf-8"?>
<ds:datastoreItem xmlns:ds="http://schemas.openxmlformats.org/officeDocument/2006/customXml" ds:itemID="{B8963A2C-20F0-49FD-9994-C4201B5E8E68}">
  <ds:schemaRefs/>
</ds:datastoreItem>
</file>

<file path=customXml/itemProps19.xml><?xml version="1.0" encoding="utf-8"?>
<ds:datastoreItem xmlns:ds="http://schemas.openxmlformats.org/officeDocument/2006/customXml" ds:itemID="{EF8E5A5B-7F1D-4B1D-83D6-3C243220F6CB}">
  <ds:schemaRefs/>
</ds:datastoreItem>
</file>

<file path=customXml/itemProps2.xml><?xml version="1.0" encoding="utf-8"?>
<ds:datastoreItem xmlns:ds="http://schemas.openxmlformats.org/officeDocument/2006/customXml" ds:itemID="{CB60074C-B3E8-4A6F-8542-5295171DFBE1}">
  <ds:schemaRefs>
    <ds:schemaRef ds:uri="http://www.w3.org/XML/1998/namespace"/>
    <ds:schemaRef ds:uri="http://purl.org/dc/elements/1.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bc9d7578-f008-4040-bae1-a89c7653d312"/>
    <ds:schemaRef ds:uri="61ccaf7c-3799-4e31-8dd3-dad79aad6143"/>
    <ds:schemaRef ds:uri="http://schemas.microsoft.com/office/2006/metadata/properties"/>
  </ds:schemaRefs>
</ds:datastoreItem>
</file>

<file path=customXml/itemProps20.xml><?xml version="1.0" encoding="utf-8"?>
<ds:datastoreItem xmlns:ds="http://schemas.openxmlformats.org/officeDocument/2006/customXml" ds:itemID="{E040B6BA-8E7F-4FC6-B6EE-0D9F71B1B103}">
  <ds:schemaRefs/>
</ds:datastoreItem>
</file>

<file path=customXml/itemProps21.xml><?xml version="1.0" encoding="utf-8"?>
<ds:datastoreItem xmlns:ds="http://schemas.openxmlformats.org/officeDocument/2006/customXml" ds:itemID="{E26386B7-A8F9-415D-93C2-C4227970FF7C}">
  <ds:schemaRefs/>
</ds:datastoreItem>
</file>

<file path=customXml/itemProps22.xml><?xml version="1.0" encoding="utf-8"?>
<ds:datastoreItem xmlns:ds="http://schemas.openxmlformats.org/officeDocument/2006/customXml" ds:itemID="{0A67C81D-0FAE-40D7-84DB-87C4FA7079E9}">
  <ds:schemaRefs/>
</ds:datastoreItem>
</file>

<file path=customXml/itemProps23.xml><?xml version="1.0" encoding="utf-8"?>
<ds:datastoreItem xmlns:ds="http://schemas.openxmlformats.org/officeDocument/2006/customXml" ds:itemID="{7489DD9E-F33D-4B24-9F48-7C4DF406953C}">
  <ds:schemaRefs/>
</ds:datastoreItem>
</file>

<file path=customXml/itemProps24.xml><?xml version="1.0" encoding="utf-8"?>
<ds:datastoreItem xmlns:ds="http://schemas.openxmlformats.org/officeDocument/2006/customXml" ds:itemID="{380142F4-00CC-4D08-8E9A-F138FEE258AF}">
  <ds:schemaRefs/>
</ds:datastoreItem>
</file>

<file path=customXml/itemProps25.xml><?xml version="1.0" encoding="utf-8"?>
<ds:datastoreItem xmlns:ds="http://schemas.openxmlformats.org/officeDocument/2006/customXml" ds:itemID="{82CF309E-B399-4A69-9324-BF96DE6A7AB1}">
  <ds:schemaRefs/>
</ds:datastoreItem>
</file>

<file path=customXml/itemProps3.xml><?xml version="1.0" encoding="utf-8"?>
<ds:datastoreItem xmlns:ds="http://schemas.openxmlformats.org/officeDocument/2006/customXml" ds:itemID="{991DFCBB-7363-4766-BE99-A4899D44D2C1}">
  <ds:schemaRefs>
    <ds:schemaRef ds:uri="http://schemas.microsoft.com/sharepoint/v3/contenttype/forms"/>
  </ds:schemaRefs>
</ds:datastoreItem>
</file>

<file path=customXml/itemProps4.xml><?xml version="1.0" encoding="utf-8"?>
<ds:datastoreItem xmlns:ds="http://schemas.openxmlformats.org/officeDocument/2006/customXml" ds:itemID="{3EBCD3C2-26E1-4749-B37E-3B38E6A7E58A}">
  <ds:schemaRefs/>
</ds:datastoreItem>
</file>

<file path=customXml/itemProps5.xml><?xml version="1.0" encoding="utf-8"?>
<ds:datastoreItem xmlns:ds="http://schemas.openxmlformats.org/officeDocument/2006/customXml" ds:itemID="{1BA1A0FF-B638-4C21-97C7-AC74F44DF38E}">
  <ds:schemaRefs/>
</ds:datastoreItem>
</file>

<file path=customXml/itemProps6.xml><?xml version="1.0" encoding="utf-8"?>
<ds:datastoreItem xmlns:ds="http://schemas.openxmlformats.org/officeDocument/2006/customXml" ds:itemID="{ED0EECB3-E159-4512-9413-92CEB2F98A86}">
  <ds:schemaRefs/>
</ds:datastoreItem>
</file>

<file path=customXml/itemProps7.xml><?xml version="1.0" encoding="utf-8"?>
<ds:datastoreItem xmlns:ds="http://schemas.openxmlformats.org/officeDocument/2006/customXml" ds:itemID="{5C9A9C09-8D6A-422E-8205-D123D27347FC}">
  <ds:schemaRefs/>
</ds:datastoreItem>
</file>

<file path=customXml/itemProps8.xml><?xml version="1.0" encoding="utf-8"?>
<ds:datastoreItem xmlns:ds="http://schemas.openxmlformats.org/officeDocument/2006/customXml" ds:itemID="{D3A6AFB2-8F83-434C-B3BB-79BD3F0FD31A}">
  <ds:schemaRefs/>
</ds:datastoreItem>
</file>

<file path=customXml/itemProps9.xml><?xml version="1.0" encoding="utf-8"?>
<ds:datastoreItem xmlns:ds="http://schemas.openxmlformats.org/officeDocument/2006/customXml" ds:itemID="{CC43D2B2-DA03-441A-9762-E5FED5A9D002}">
  <ds:schemaRefs/>
</ds:datastoreItem>
</file>

<file path=docProps/app.xml><?xml version="1.0" encoding="utf-8"?>
<Properties xmlns="http://schemas.openxmlformats.org/officeDocument/2006/extended-properties" xmlns:vt="http://schemas.openxmlformats.org/officeDocument/2006/docPropsVTypes">
  <Template>Deloitte_Brand_Theme</Template>
  <TotalTime>3516</TotalTime>
  <Words>1373</Words>
  <Application>Microsoft Office PowerPoint</Application>
  <PresentationFormat>Widescreen</PresentationFormat>
  <Paragraphs>147</Paragraphs>
  <Slides>10</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1" baseType="lpstr">
      <vt:lpstr>Arial</vt:lpstr>
      <vt:lpstr>Arial Black</vt:lpstr>
      <vt:lpstr>Calibri</vt:lpstr>
      <vt:lpstr>Calibri Light</vt:lpstr>
      <vt:lpstr>Open Sans</vt:lpstr>
      <vt:lpstr>Tahoma</vt:lpstr>
      <vt:lpstr>Verdana</vt:lpstr>
      <vt:lpstr>Wingdings</vt:lpstr>
      <vt:lpstr>Wingdings 2</vt:lpstr>
      <vt:lpstr>Deloitte Brand Theme</vt:lpstr>
      <vt:lpstr>think-cell Slide</vt:lpstr>
      <vt:lpstr>PowerPoint Presentation</vt:lpstr>
      <vt:lpstr>PowerPoint Presentation</vt:lpstr>
      <vt:lpstr>PowerPoint Presentation</vt:lpstr>
      <vt:lpstr>PowerPoint Presentation</vt:lpstr>
      <vt:lpstr>Διμερής συμφωνίες πώλησης ενέργειας (PPA’s)</vt:lpstr>
      <vt:lpstr>PowerPoint Presentation</vt:lpstr>
      <vt:lpstr>Διμερής συμφωνίες πώλησης ενέργειας (PPA’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rlusconi, Antonella</dc:creator>
  <cp:lastModifiedBy>Roumpis, Konstantinos</cp:lastModifiedBy>
  <cp:revision>87</cp:revision>
  <dcterms:created xsi:type="dcterms:W3CDTF">2022-07-04T11:52:28Z</dcterms:created>
  <dcterms:modified xsi:type="dcterms:W3CDTF">2023-10-21T19:1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11-25T17:14:3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eaa83c7-7f05-4ea9-baec-f31825758f48</vt:lpwstr>
  </property>
  <property fmtid="{D5CDD505-2E9C-101B-9397-08002B2CF9AE}" pid="8" name="MSIP_Label_ea60d57e-af5b-4752-ac57-3e4f28ca11dc_ContentBits">
    <vt:lpwstr>0</vt:lpwstr>
  </property>
  <property fmtid="{D5CDD505-2E9C-101B-9397-08002B2CF9AE}" pid="9" name="TemplafyTimeStamp">
    <vt:lpwstr>2021-12-01T13:38:21</vt:lpwstr>
  </property>
  <property fmtid="{D5CDD505-2E9C-101B-9397-08002B2CF9AE}" pid="10" name="TemplafyTenantId">
    <vt:lpwstr>deloittecm</vt:lpwstr>
  </property>
  <property fmtid="{D5CDD505-2E9C-101B-9397-08002B2CF9AE}" pid="11" name="TemplafyTemplateId">
    <vt:lpwstr>637739627007274728</vt:lpwstr>
  </property>
  <property fmtid="{D5CDD505-2E9C-101B-9397-08002B2CF9AE}" pid="12" name="TemplafyUserProfileId">
    <vt:lpwstr>637922678351879739</vt:lpwstr>
  </property>
  <property fmtid="{D5CDD505-2E9C-101B-9397-08002B2CF9AE}" pid="13" name="TemplafyFromBlank">
    <vt:bool>true</vt:bool>
  </property>
  <property fmtid="{D5CDD505-2E9C-101B-9397-08002B2CF9AE}" pid="14" name="ContentTypeId">
    <vt:lpwstr>0x010100DC2B36C4BE05644EA8368ED4EDA14B80</vt:lpwstr>
  </property>
</Properties>
</file>